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4276" r:id="rId5"/>
  </p:sldMasterIdLst>
  <p:notesMasterIdLst>
    <p:notesMasterId r:id="rId34"/>
  </p:notesMasterIdLst>
  <p:handoutMasterIdLst>
    <p:handoutMasterId r:id="rId35"/>
  </p:handoutMasterIdLst>
  <p:sldIdLst>
    <p:sldId id="682" r:id="rId6"/>
    <p:sldId id="694" r:id="rId7"/>
    <p:sldId id="703" r:id="rId8"/>
    <p:sldId id="704" r:id="rId9"/>
    <p:sldId id="705" r:id="rId10"/>
    <p:sldId id="706" r:id="rId11"/>
    <p:sldId id="707" r:id="rId12"/>
    <p:sldId id="708" r:id="rId13"/>
    <p:sldId id="709" r:id="rId14"/>
    <p:sldId id="710" r:id="rId15"/>
    <p:sldId id="711" r:id="rId16"/>
    <p:sldId id="712" r:id="rId17"/>
    <p:sldId id="713" r:id="rId18"/>
    <p:sldId id="714" r:id="rId19"/>
    <p:sldId id="715" r:id="rId20"/>
    <p:sldId id="716" r:id="rId21"/>
    <p:sldId id="717" r:id="rId22"/>
    <p:sldId id="718" r:id="rId23"/>
    <p:sldId id="719" r:id="rId24"/>
    <p:sldId id="720" r:id="rId25"/>
    <p:sldId id="721" r:id="rId26"/>
    <p:sldId id="722" r:id="rId27"/>
    <p:sldId id="723" r:id="rId28"/>
    <p:sldId id="724" r:id="rId29"/>
    <p:sldId id="725" r:id="rId30"/>
    <p:sldId id="726" r:id="rId31"/>
    <p:sldId id="727" r:id="rId32"/>
    <p:sldId id="728" r:id="rId33"/>
  </p:sldIdLst>
  <p:sldSz cx="9144000" cy="6858000" type="screen4x3"/>
  <p:notesSz cx="6858000" cy="9144000"/>
  <p:defaultTex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p:defaultTextStyle>
  <p:extLst>
    <p:ext uri="{EFAFB233-063F-42B5-8137-9DF3F51BA10A}">
      <p15:sldGuideLst xmlns:p15="http://schemas.microsoft.com/office/powerpoint/2012/main">
        <p15:guide id="1" orient="horz" pos="1260" userDrawn="1">
          <p15:clr>
            <a:srgbClr val="A4A3A4"/>
          </p15:clr>
        </p15:guide>
        <p15:guide id="2" orient="horz" pos="4102" userDrawn="1">
          <p15:clr>
            <a:srgbClr val="A4A3A4"/>
          </p15:clr>
        </p15:guide>
        <p15:guide id="3" orient="horz" pos="212" userDrawn="1">
          <p15:clr>
            <a:srgbClr val="A4A3A4"/>
          </p15:clr>
        </p15:guide>
        <p15:guide id="4" orient="horz" pos="2140" userDrawn="1">
          <p15:clr>
            <a:srgbClr val="A4A3A4"/>
          </p15:clr>
        </p15:guide>
        <p15:guide id="5" pos="127" userDrawn="1">
          <p15:clr>
            <a:srgbClr val="A4A3A4"/>
          </p15:clr>
        </p15:guide>
        <p15:guide id="6" pos="5640" userDrawn="1">
          <p15:clr>
            <a:srgbClr val="A4A3A4"/>
          </p15:clr>
        </p15:guide>
        <p15:guide id="7" pos="46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BA2"/>
    <a:srgbClr val="123761"/>
    <a:srgbClr val="B42359"/>
    <a:srgbClr val="234E8F"/>
    <a:srgbClr val="3086BF"/>
    <a:srgbClr val="4F7DAD"/>
    <a:srgbClr val="B5CCEA"/>
    <a:srgbClr val="2F82BF"/>
    <a:srgbClr val="5688B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3897" autoAdjust="0"/>
    <p:restoredTop sz="92090" autoAdjust="0"/>
  </p:normalViewPr>
  <p:slideViewPr>
    <p:cSldViewPr snapToGrid="0">
      <p:cViewPr varScale="1">
        <p:scale>
          <a:sx n="74" d="100"/>
          <a:sy n="74" d="100"/>
        </p:scale>
        <p:origin x="924" y="54"/>
      </p:cViewPr>
      <p:guideLst>
        <p:guide orient="horz" pos="1260"/>
        <p:guide orient="horz" pos="4102"/>
        <p:guide orient="horz" pos="212"/>
        <p:guide orient="horz" pos="2140"/>
        <p:guide pos="127"/>
        <p:guide pos="5640"/>
        <p:guide pos="464"/>
      </p:guideLst>
    </p:cSldViewPr>
  </p:slideViewPr>
  <p:notesTextViewPr>
    <p:cViewPr>
      <p:scale>
        <a:sx n="100" d="100"/>
        <a:sy n="100" d="100"/>
      </p:scale>
      <p:origin x="0" y="0"/>
    </p:cViewPr>
  </p:notesTextViewPr>
  <p:sorterViewPr>
    <p:cViewPr varScale="1">
      <p:scale>
        <a:sx n="100" d="100"/>
        <a:sy n="100" d="100"/>
      </p:scale>
      <p:origin x="0" y="-2496"/>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21" Type="http://schemas.openxmlformats.org/officeDocument/2006/relationships/slide" Target="slides/slide16.xml"/><Relationship Id="rId34"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handoutMaster" Target="handoutMasters/handoutMaster1.xml"/><Relationship Id="rId8" Type="http://schemas.openxmlformats.org/officeDocument/2006/relationships/slide" Target="slides/slide3.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916E80C9-9524-48EC-9C37-FDDD278BA284}" type="datetime1">
              <a:rPr lang="en-US"/>
              <a:pPr>
                <a:defRPr/>
              </a:pPr>
              <a:t>6/20/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8010CA36-9309-49C8-B07E-AAF702B0C62E}" type="slidenum">
              <a:rPr lang="en-US"/>
              <a:pPr>
                <a:defRPr/>
              </a:pPr>
              <a:t>‹#›</a:t>
            </a:fld>
            <a:endParaRPr lang="en-US"/>
          </a:p>
        </p:txBody>
      </p:sp>
    </p:spTree>
    <p:extLst>
      <p:ext uri="{BB962C8B-B14F-4D97-AF65-F5344CB8AC3E}">
        <p14:creationId xmlns:p14="http://schemas.microsoft.com/office/powerpoint/2010/main" val="60487511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MS PGothic" panose="020B0600070205080204" pitchFamily="34" charset="-128"/>
                <a:cs typeface="Arial" pitchFamily="34" charset="0"/>
              </a:defRPr>
            </a:lvl1pPr>
          </a:lstStyle>
          <a:p>
            <a:pPr>
              <a:defRPr/>
            </a:pPr>
            <a:fld id="{F91BF580-FD9D-4C78-9383-94D3FDD761F8}" type="datetime1">
              <a:rPr lang="en-US"/>
              <a:pPr>
                <a:defRPr/>
              </a:pPr>
              <a:t>6/20/20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itchFamily="34" charset="-128"/>
                <a:cs typeface="Arial" pitchFamily="34" charset="0"/>
              </a:defRPr>
            </a:lvl1pPr>
          </a:lstStyle>
          <a:p>
            <a:pPr>
              <a:defRPr/>
            </a:pPr>
            <a:fld id="{FB23CDD8-D2B6-4C60-8F57-F08576837834}" type="slidenum">
              <a:rPr lang="en-US"/>
              <a:pPr>
                <a:defRPr/>
              </a:pPr>
              <a:t>‹#›</a:t>
            </a:fld>
            <a:endParaRPr lang="en-US"/>
          </a:p>
        </p:txBody>
      </p:sp>
    </p:spTree>
    <p:extLst>
      <p:ext uri="{BB962C8B-B14F-4D97-AF65-F5344CB8AC3E}">
        <p14:creationId xmlns:p14="http://schemas.microsoft.com/office/powerpoint/2010/main" val="595860896"/>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1pPr>
    <a:lvl2pPr marL="4572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2pPr>
    <a:lvl3pPr marL="9144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3pPr>
    <a:lvl4pPr marL="13716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4pPr>
    <a:lvl5pPr marL="18288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github.com/cucumber/cucumber/wiki/Spoken-languages"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2</a:t>
            </a:fld>
            <a:endParaRPr lang="en-US"/>
          </a:p>
        </p:txBody>
      </p:sp>
    </p:spTree>
    <p:extLst>
      <p:ext uri="{BB962C8B-B14F-4D97-AF65-F5344CB8AC3E}">
        <p14:creationId xmlns:p14="http://schemas.microsoft.com/office/powerpoint/2010/main" val="32723331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2</a:t>
            </a:fld>
            <a:endParaRPr lang="en-US"/>
          </a:p>
        </p:txBody>
      </p:sp>
    </p:spTree>
    <p:extLst>
      <p:ext uri="{BB962C8B-B14F-4D97-AF65-F5344CB8AC3E}">
        <p14:creationId xmlns:p14="http://schemas.microsoft.com/office/powerpoint/2010/main" val="42637506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3</a:t>
            </a:fld>
            <a:endParaRPr lang="en-US"/>
          </a:p>
        </p:txBody>
      </p:sp>
    </p:spTree>
    <p:extLst>
      <p:ext uri="{BB962C8B-B14F-4D97-AF65-F5344CB8AC3E}">
        <p14:creationId xmlns:p14="http://schemas.microsoft.com/office/powerpoint/2010/main" val="10744682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4</a:t>
            </a:fld>
            <a:endParaRPr lang="en-US"/>
          </a:p>
        </p:txBody>
      </p:sp>
    </p:spTree>
    <p:extLst>
      <p:ext uri="{BB962C8B-B14F-4D97-AF65-F5344CB8AC3E}">
        <p14:creationId xmlns:p14="http://schemas.microsoft.com/office/powerpoint/2010/main" val="27136412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5</a:t>
            </a:fld>
            <a:endParaRPr lang="en-US"/>
          </a:p>
        </p:txBody>
      </p:sp>
    </p:spTree>
    <p:extLst>
      <p:ext uri="{BB962C8B-B14F-4D97-AF65-F5344CB8AC3E}">
        <p14:creationId xmlns:p14="http://schemas.microsoft.com/office/powerpoint/2010/main" val="8372216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6</a:t>
            </a:fld>
            <a:endParaRPr lang="en-US"/>
          </a:p>
        </p:txBody>
      </p:sp>
    </p:spTree>
    <p:extLst>
      <p:ext uri="{BB962C8B-B14F-4D97-AF65-F5344CB8AC3E}">
        <p14:creationId xmlns:p14="http://schemas.microsoft.com/office/powerpoint/2010/main" val="18463607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7</a:t>
            </a:fld>
            <a:endParaRPr lang="en-US"/>
          </a:p>
        </p:txBody>
      </p:sp>
    </p:spTree>
    <p:extLst>
      <p:ext uri="{BB962C8B-B14F-4D97-AF65-F5344CB8AC3E}">
        <p14:creationId xmlns:p14="http://schemas.microsoft.com/office/powerpoint/2010/main" val="24446905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8</a:t>
            </a:fld>
            <a:endParaRPr lang="en-US"/>
          </a:p>
        </p:txBody>
      </p:sp>
    </p:spTree>
    <p:extLst>
      <p:ext uri="{BB962C8B-B14F-4D97-AF65-F5344CB8AC3E}">
        <p14:creationId xmlns:p14="http://schemas.microsoft.com/office/powerpoint/2010/main" val="17972005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9</a:t>
            </a:fld>
            <a:endParaRPr lang="en-US"/>
          </a:p>
        </p:txBody>
      </p:sp>
    </p:spTree>
    <p:extLst>
      <p:ext uri="{BB962C8B-B14F-4D97-AF65-F5344CB8AC3E}">
        <p14:creationId xmlns:p14="http://schemas.microsoft.com/office/powerpoint/2010/main" val="6029161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20</a:t>
            </a:fld>
            <a:endParaRPr lang="en-US"/>
          </a:p>
        </p:txBody>
      </p:sp>
    </p:spTree>
    <p:extLst>
      <p:ext uri="{BB962C8B-B14F-4D97-AF65-F5344CB8AC3E}">
        <p14:creationId xmlns:p14="http://schemas.microsoft.com/office/powerpoint/2010/main" val="19360272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21</a:t>
            </a:fld>
            <a:endParaRPr lang="en-US"/>
          </a:p>
        </p:txBody>
      </p:sp>
    </p:spTree>
    <p:extLst>
      <p:ext uri="{BB962C8B-B14F-4D97-AF65-F5344CB8AC3E}">
        <p14:creationId xmlns:p14="http://schemas.microsoft.com/office/powerpoint/2010/main" val="26365391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3</a:t>
            </a:fld>
            <a:endParaRPr lang="en-US"/>
          </a:p>
        </p:txBody>
      </p:sp>
    </p:spTree>
    <p:extLst>
      <p:ext uri="{BB962C8B-B14F-4D97-AF65-F5344CB8AC3E}">
        <p14:creationId xmlns:p14="http://schemas.microsoft.com/office/powerpoint/2010/main" val="126141225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22</a:t>
            </a:fld>
            <a:endParaRPr lang="en-US"/>
          </a:p>
        </p:txBody>
      </p:sp>
    </p:spTree>
    <p:extLst>
      <p:ext uri="{BB962C8B-B14F-4D97-AF65-F5344CB8AC3E}">
        <p14:creationId xmlns:p14="http://schemas.microsoft.com/office/powerpoint/2010/main" val="27286713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23</a:t>
            </a:fld>
            <a:endParaRPr lang="en-US"/>
          </a:p>
        </p:txBody>
      </p:sp>
    </p:spTree>
    <p:extLst>
      <p:ext uri="{BB962C8B-B14F-4D97-AF65-F5344CB8AC3E}">
        <p14:creationId xmlns:p14="http://schemas.microsoft.com/office/powerpoint/2010/main" val="14249905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24</a:t>
            </a:fld>
            <a:endParaRPr lang="en-US"/>
          </a:p>
        </p:txBody>
      </p:sp>
    </p:spTree>
    <p:extLst>
      <p:ext uri="{BB962C8B-B14F-4D97-AF65-F5344CB8AC3E}">
        <p14:creationId xmlns:p14="http://schemas.microsoft.com/office/powerpoint/2010/main" val="28523058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26</a:t>
            </a:fld>
            <a:endParaRPr lang="en-US"/>
          </a:p>
        </p:txBody>
      </p:sp>
    </p:spTree>
    <p:extLst>
      <p:ext uri="{BB962C8B-B14F-4D97-AF65-F5344CB8AC3E}">
        <p14:creationId xmlns:p14="http://schemas.microsoft.com/office/powerpoint/2010/main" val="21592499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4</a:t>
            </a:fld>
            <a:endParaRPr lang="en-US"/>
          </a:p>
        </p:txBody>
      </p:sp>
    </p:spTree>
    <p:extLst>
      <p:ext uri="{BB962C8B-B14F-4D97-AF65-F5344CB8AC3E}">
        <p14:creationId xmlns:p14="http://schemas.microsoft.com/office/powerpoint/2010/main" val="29471179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5</a:t>
            </a:fld>
            <a:endParaRPr lang="en-US"/>
          </a:p>
        </p:txBody>
      </p:sp>
    </p:spTree>
    <p:extLst>
      <p:ext uri="{BB962C8B-B14F-4D97-AF65-F5344CB8AC3E}">
        <p14:creationId xmlns:p14="http://schemas.microsoft.com/office/powerpoint/2010/main" val="19058949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6</a:t>
            </a:fld>
            <a:endParaRPr lang="en-US"/>
          </a:p>
        </p:txBody>
      </p:sp>
    </p:spTree>
    <p:extLst>
      <p:ext uri="{BB962C8B-B14F-4D97-AF65-F5344CB8AC3E}">
        <p14:creationId xmlns:p14="http://schemas.microsoft.com/office/powerpoint/2010/main" val="2377328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7</a:t>
            </a:fld>
            <a:endParaRPr lang="en-US"/>
          </a:p>
        </p:txBody>
      </p:sp>
    </p:spTree>
    <p:extLst>
      <p:ext uri="{BB962C8B-B14F-4D97-AF65-F5344CB8AC3E}">
        <p14:creationId xmlns:p14="http://schemas.microsoft.com/office/powerpoint/2010/main" val="5718457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8</a:t>
            </a:fld>
            <a:endParaRPr lang="en-US"/>
          </a:p>
        </p:txBody>
      </p:sp>
    </p:spTree>
    <p:extLst>
      <p:ext uri="{BB962C8B-B14F-4D97-AF65-F5344CB8AC3E}">
        <p14:creationId xmlns:p14="http://schemas.microsoft.com/office/powerpoint/2010/main" val="8270200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0</a:t>
            </a:fld>
            <a:endParaRPr lang="en-US"/>
          </a:p>
        </p:txBody>
      </p:sp>
    </p:spTree>
    <p:extLst>
      <p:ext uri="{BB962C8B-B14F-4D97-AF65-F5344CB8AC3E}">
        <p14:creationId xmlns:p14="http://schemas.microsoft.com/office/powerpoint/2010/main" val="4249696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herkin’s grammar is defined in the Treetop grammar that is part of the Cucumber codebase. The grammar exists in different </a:t>
            </a:r>
            <a:r>
              <a:rPr lang="en-US" dirty="0" err="1"/>
              <a:t>flavours</a:t>
            </a:r>
            <a:r>
              <a:rPr lang="en-US" dirty="0"/>
              <a:t> for many </a:t>
            </a:r>
            <a:r>
              <a:rPr lang="en-US" dirty="0">
                <a:hlinkClick r:id="rId3"/>
              </a:rPr>
              <a:t>spoken languages</a:t>
            </a:r>
            <a:r>
              <a:rPr lang="en-US" dirty="0"/>
              <a:t> (60 at the time of writing), so that your team can use the keywords in your own language.</a:t>
            </a:r>
          </a:p>
        </p:txBody>
      </p:sp>
      <p:sp>
        <p:nvSpPr>
          <p:cNvPr id="4" name="Slide Number Placeholder 3"/>
          <p:cNvSpPr>
            <a:spLocks noGrp="1"/>
          </p:cNvSpPr>
          <p:nvPr>
            <p:ph type="sldNum" sz="quarter" idx="10"/>
          </p:nvPr>
        </p:nvSpPr>
        <p:spPr/>
        <p:txBody>
          <a:bodyPr/>
          <a:lstStyle/>
          <a:p>
            <a:fld id="{24F6CE0E-D837-4495-9C0B-7B2CC8215261}" type="slidenum">
              <a:rPr lang="en-US" smtClean="0"/>
              <a:pPr/>
              <a:t>11</a:t>
            </a:fld>
            <a:endParaRPr lang="en-US"/>
          </a:p>
        </p:txBody>
      </p:sp>
    </p:spTree>
    <p:extLst>
      <p:ext uri="{BB962C8B-B14F-4D97-AF65-F5344CB8AC3E}">
        <p14:creationId xmlns:p14="http://schemas.microsoft.com/office/powerpoint/2010/main" val="5239502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7133035" y="1963935"/>
            <a:ext cx="1714500" cy="2137173"/>
          </a:xfrm>
          <a:prstGeom prst="rect">
            <a:avLst/>
          </a:prstGeom>
        </p:spPr>
        <p:txBody>
          <a:bodyPr/>
          <a:lstStyle>
            <a:lvl1pPr>
              <a:defRPr sz="2000"/>
            </a:lvl1pPr>
          </a:lstStyle>
          <a:p>
            <a:r>
              <a:rPr lang="en-US" smtClean="0"/>
              <a:t>Click icon to add picture</a:t>
            </a:r>
            <a:endParaRPr lang="en-IN" dirty="0"/>
          </a:p>
        </p:txBody>
      </p:sp>
      <p:sp>
        <p:nvSpPr>
          <p:cNvPr id="6" name="Rectangle 5"/>
          <p:cNvSpPr/>
          <p:nvPr/>
        </p:nvSpPr>
        <p:spPr>
          <a:xfrm>
            <a:off x="0" y="1963935"/>
            <a:ext cx="7018735" cy="2137173"/>
          </a:xfrm>
          <a:prstGeom prst="rect">
            <a:avLst/>
          </a:prstGeom>
          <a:solidFill>
            <a:schemeClr val="tx2"/>
          </a:solidFill>
          <a:ln w="3175" cap="flat" cmpd="sng" algn="ctr">
            <a:noFill/>
            <a:prstDash val="soli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685800" eaLnBrk="1" fontAlgn="auto" hangingPunct="1">
              <a:spcBef>
                <a:spcPts val="450"/>
              </a:spcBef>
              <a:spcAft>
                <a:spcPts val="0"/>
              </a:spcAft>
            </a:pPr>
            <a:endParaRPr lang="en-IN" sz="1050" kern="0" dirty="0">
              <a:solidFill>
                <a:srgbClr val="000000"/>
              </a:solidFill>
              <a:latin typeface="+mj-lt"/>
              <a:ea typeface="+mn-ea"/>
            </a:endParaRPr>
          </a:p>
        </p:txBody>
      </p:sp>
      <p:sp>
        <p:nvSpPr>
          <p:cNvPr id="3" name="Subtitle 2"/>
          <p:cNvSpPr>
            <a:spLocks noGrp="1"/>
          </p:cNvSpPr>
          <p:nvPr userDrawn="1">
            <p:ph type="subTitle" idx="1"/>
          </p:nvPr>
        </p:nvSpPr>
        <p:spPr bwMode="gray">
          <a:xfrm>
            <a:off x="839392" y="3638846"/>
            <a:ext cx="6071362" cy="230832"/>
          </a:xfrm>
          <a:prstGeom prst="rect">
            <a:avLst/>
          </a:prstGeom>
        </p:spPr>
        <p:txBody>
          <a:bodyPr wrap="square" lIns="0" tIns="0" rIns="0" bIns="0">
            <a:spAutoFit/>
          </a:bodyPr>
          <a:lstStyle>
            <a:lvl1pPr marL="0" indent="0" algn="l">
              <a:buNone/>
              <a:defRPr sz="1500">
                <a:solidFill>
                  <a:schemeClr val="bg1"/>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userDrawn="1">
            <p:ph type="ctrTitle"/>
          </p:nvPr>
        </p:nvSpPr>
        <p:spPr bwMode="gray">
          <a:xfrm>
            <a:off x="839392" y="3176072"/>
            <a:ext cx="6071362" cy="369332"/>
          </a:xfrm>
        </p:spPr>
        <p:txBody>
          <a:bodyPr wrap="square" lIns="0" tIns="0" rIns="0" bIns="0" anchor="b" anchorCtr="0">
            <a:spAutoFit/>
          </a:bodyPr>
          <a:lstStyle>
            <a:lvl1pPr algn="l">
              <a:defRPr sz="2400">
                <a:solidFill>
                  <a:srgbClr val="FFFFFF"/>
                </a:solidFill>
                <a:latin typeface="+mj-lt"/>
                <a:cs typeface="Century Gothic" panose="020B0502020202020204" pitchFamily="34" charset="0"/>
              </a:defRPr>
            </a:lvl1pPr>
          </a:lstStyle>
          <a:p>
            <a:r>
              <a:rPr lang="en-US" smtClean="0"/>
              <a:t>Click to edit Master title style</a:t>
            </a:r>
            <a:endParaRPr lang="en-US" dirty="0"/>
          </a:p>
        </p:txBody>
      </p:sp>
      <p:sp>
        <p:nvSpPr>
          <p:cNvPr id="11" name="TextBox 10"/>
          <p:cNvSpPr txBox="1"/>
          <p:nvPr userDrawn="1">
            <p:custDataLst>
              <p:tags r:id="rId1"/>
            </p:custDataLst>
          </p:nvPr>
        </p:nvSpPr>
        <p:spPr>
          <a:xfrm>
            <a:off x="785812" y="6496054"/>
            <a:ext cx="2326569" cy="184652"/>
          </a:xfrm>
          <a:prstGeom prst="rect">
            <a:avLst/>
          </a:prstGeom>
          <a:noFill/>
        </p:spPr>
        <p:txBody>
          <a:bodyPr wrap="none" lIns="68565" tIns="34283" rIns="68565" bIns="34283">
            <a:spAutoFit/>
          </a:bodyPr>
          <a:lstStyle/>
          <a:p>
            <a:pPr defTabSz="342828">
              <a:defRPr/>
            </a:pPr>
            <a:r>
              <a:rPr lang="en-US" sz="750" kern="0" dirty="0">
                <a:solidFill>
                  <a:prstClr val="white">
                    <a:lumMod val="50000"/>
                  </a:prstClr>
                </a:solidFill>
                <a:latin typeface="+mj-lt"/>
              </a:rPr>
              <a:t>COPYRIGHT ©. ALL RIGHTS PROTECTED AND RESERVED.</a:t>
            </a:r>
          </a:p>
        </p:txBody>
      </p:sp>
      <p:grpSp>
        <p:nvGrpSpPr>
          <p:cNvPr id="14" name="Group 13"/>
          <p:cNvGrpSpPr/>
          <p:nvPr userDrawn="1"/>
        </p:nvGrpSpPr>
        <p:grpSpPr>
          <a:xfrm>
            <a:off x="3571" y="1967627"/>
            <a:ext cx="835819" cy="1147763"/>
            <a:chOff x="-19050" y="-4763"/>
            <a:chExt cx="835819" cy="1147763"/>
          </a:xfrm>
          <a:solidFill>
            <a:schemeClr val="bg1">
              <a:alpha val="17000"/>
            </a:schemeClr>
          </a:solidFill>
        </p:grpSpPr>
        <p:sp>
          <p:nvSpPr>
            <p:cNvPr id="15" name="Freeform 14"/>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sp>
          <p:nvSpPr>
            <p:cNvPr id="16" name="Freeform 15"/>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latin typeface="+mj-lt"/>
              </a:endParaRPr>
            </a:p>
          </p:txBody>
        </p:sp>
      </p:grpSp>
      <p:pic>
        <p:nvPicPr>
          <p:cNvPr id="17" name="Picture 16" descr="MAVERIC LOGO.eps"/>
          <p:cNvPicPr>
            <a:picLocks noChangeAspect="1"/>
          </p:cNvPicPr>
          <p:nvPr userDrawn="1"/>
        </p:nvPicPr>
        <p:blipFill>
          <a:blip r:embed="rId3">
            <a:extLst>
              <a:ext uri="{28A0092B-C50C-407E-A947-70E740481C1C}">
                <a14:useLocalDpi xmlns:a14="http://schemas.microsoft.com/office/drawing/2010/main" val="0"/>
              </a:ext>
            </a:extLst>
          </a:blip>
          <a:srcRect b="39967"/>
          <a:stretch>
            <a:fillRect/>
          </a:stretch>
        </p:blipFill>
        <p:spPr bwMode="auto">
          <a:xfrm>
            <a:off x="839392" y="4194550"/>
            <a:ext cx="1663323" cy="654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339906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53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3737051"/>
            <a:ext cx="9144001" cy="3125287"/>
          </a:xfrm>
          <a:prstGeom prst="rect">
            <a:avLst/>
          </a:prstGeom>
        </p:spPr>
      </p:pic>
      <p:grpSp>
        <p:nvGrpSpPr>
          <p:cNvPr id="47" name="Group 46"/>
          <p:cNvGrpSpPr/>
          <p:nvPr userDrawn="1"/>
        </p:nvGrpSpPr>
        <p:grpSpPr bwMode="gray">
          <a:xfrm>
            <a:off x="2390922" y="299551"/>
            <a:ext cx="4362157" cy="4164922"/>
            <a:chOff x="3187895" y="299551"/>
            <a:chExt cx="5816209" cy="4164922"/>
          </a:xfrm>
        </p:grpSpPr>
        <p:grpSp>
          <p:nvGrpSpPr>
            <p:cNvPr id="48" name="Group 47"/>
            <p:cNvGrpSpPr>
              <a:grpSpLocks noChangeAspect="1"/>
            </p:cNvGrpSpPr>
            <p:nvPr/>
          </p:nvGrpSpPr>
          <p:grpSpPr bwMode="gray">
            <a:xfrm>
              <a:off x="4971813" y="299551"/>
              <a:ext cx="2248375" cy="830271"/>
              <a:chOff x="6391275" y="515938"/>
              <a:chExt cx="3813176" cy="1408113"/>
            </a:xfrm>
          </p:grpSpPr>
          <p:sp>
            <p:nvSpPr>
              <p:cNvPr id="51" name="Freeform 50"/>
              <p:cNvSpPr>
                <a:spLocks/>
              </p:cNvSpPr>
              <p:nvPr/>
            </p:nvSpPr>
            <p:spPr bwMode="gray">
              <a:xfrm>
                <a:off x="6789738" y="1677988"/>
                <a:ext cx="138113" cy="185738"/>
              </a:xfrm>
              <a:custGeom>
                <a:avLst/>
                <a:gdLst>
                  <a:gd name="T0" fmla="*/ 202 w 497"/>
                  <a:gd name="T1" fmla="*/ 85 h 673"/>
                  <a:gd name="T2" fmla="*/ 202 w 497"/>
                  <a:gd name="T3" fmla="*/ 85 h 673"/>
                  <a:gd name="T4" fmla="*/ 0 w 497"/>
                  <a:gd name="T5" fmla="*/ 85 h 673"/>
                  <a:gd name="T6" fmla="*/ 0 w 497"/>
                  <a:gd name="T7" fmla="*/ 0 h 673"/>
                  <a:gd name="T8" fmla="*/ 497 w 497"/>
                  <a:gd name="T9" fmla="*/ 0 h 673"/>
                  <a:gd name="T10" fmla="*/ 497 w 497"/>
                  <a:gd name="T11" fmla="*/ 85 h 673"/>
                  <a:gd name="T12" fmla="*/ 295 w 497"/>
                  <a:gd name="T13" fmla="*/ 85 h 673"/>
                  <a:gd name="T14" fmla="*/ 295 w 497"/>
                  <a:gd name="T15" fmla="*/ 673 h 673"/>
                  <a:gd name="T16" fmla="*/ 202 w 497"/>
                  <a:gd name="T17" fmla="*/ 673 h 673"/>
                  <a:gd name="T18" fmla="*/ 202 w 497"/>
                  <a:gd name="T19" fmla="*/ 8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673">
                    <a:moveTo>
                      <a:pt x="202" y="85"/>
                    </a:moveTo>
                    <a:lnTo>
                      <a:pt x="202" y="85"/>
                    </a:lnTo>
                    <a:lnTo>
                      <a:pt x="0" y="85"/>
                    </a:lnTo>
                    <a:lnTo>
                      <a:pt x="0" y="0"/>
                    </a:lnTo>
                    <a:lnTo>
                      <a:pt x="497" y="0"/>
                    </a:lnTo>
                    <a:lnTo>
                      <a:pt x="497" y="85"/>
                    </a:lnTo>
                    <a:lnTo>
                      <a:pt x="295" y="85"/>
                    </a:lnTo>
                    <a:lnTo>
                      <a:pt x="295" y="673"/>
                    </a:lnTo>
                    <a:lnTo>
                      <a:pt x="202" y="673"/>
                    </a:lnTo>
                    <a:lnTo>
                      <a:pt x="202" y="8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2" name="Freeform 51"/>
              <p:cNvSpPr>
                <a:spLocks/>
              </p:cNvSpPr>
              <p:nvPr/>
            </p:nvSpPr>
            <p:spPr bwMode="gray">
              <a:xfrm>
                <a:off x="6938963"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8 w 265"/>
                  <a:gd name="T11" fmla="*/ 0 h 503"/>
                  <a:gd name="T12" fmla="*/ 265 w 265"/>
                  <a:gd name="T13" fmla="*/ 7 h 503"/>
                  <a:gd name="T14" fmla="*/ 265 w 265"/>
                  <a:gd name="T15" fmla="*/ 87 h 503"/>
                  <a:gd name="T16" fmla="*/ 217 w 265"/>
                  <a:gd name="T17" fmla="*/ 79 h 503"/>
                  <a:gd name="T18" fmla="*/ 88 w 265"/>
                  <a:gd name="T19" fmla="*/ 279 h 503"/>
                  <a:gd name="T20" fmla="*/ 88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8" y="0"/>
                    </a:cubicBezTo>
                    <a:cubicBezTo>
                      <a:pt x="234" y="0"/>
                      <a:pt x="247" y="3"/>
                      <a:pt x="265" y="7"/>
                    </a:cubicBezTo>
                    <a:lnTo>
                      <a:pt x="265" y="87"/>
                    </a:lnTo>
                    <a:cubicBezTo>
                      <a:pt x="249"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3" name="Freeform 52"/>
              <p:cNvSpPr>
                <a:spLocks noEditPoints="1"/>
              </p:cNvSpPr>
              <p:nvPr/>
            </p:nvSpPr>
            <p:spPr bwMode="gray">
              <a:xfrm>
                <a:off x="7037388" y="1725613"/>
                <a:ext cx="111125" cy="141288"/>
              </a:xfrm>
              <a:custGeom>
                <a:avLst/>
                <a:gdLst>
                  <a:gd name="T0" fmla="*/ 313 w 404"/>
                  <a:gd name="T1" fmla="*/ 269 h 514"/>
                  <a:gd name="T2" fmla="*/ 313 w 404"/>
                  <a:gd name="T3" fmla="*/ 269 h 514"/>
                  <a:gd name="T4" fmla="*/ 257 w 404"/>
                  <a:gd name="T5" fmla="*/ 267 h 514"/>
                  <a:gd name="T6" fmla="*/ 93 w 404"/>
                  <a:gd name="T7" fmla="*/ 361 h 514"/>
                  <a:gd name="T8" fmla="*/ 181 w 404"/>
                  <a:gd name="T9" fmla="*/ 441 h 514"/>
                  <a:gd name="T10" fmla="*/ 313 w 404"/>
                  <a:gd name="T11" fmla="*/ 312 h 514"/>
                  <a:gd name="T12" fmla="*/ 313 w 404"/>
                  <a:gd name="T13" fmla="*/ 269 h 514"/>
                  <a:gd name="T14" fmla="*/ 313 w 404"/>
                  <a:gd name="T15" fmla="*/ 269 h 514"/>
                  <a:gd name="T16" fmla="*/ 54 w 404"/>
                  <a:gd name="T17" fmla="*/ 46 h 514"/>
                  <a:gd name="T18" fmla="*/ 54 w 404"/>
                  <a:gd name="T19" fmla="*/ 46 h 514"/>
                  <a:gd name="T20" fmla="*/ 210 w 404"/>
                  <a:gd name="T21" fmla="*/ 0 h 514"/>
                  <a:gd name="T22" fmla="*/ 401 w 404"/>
                  <a:gd name="T23" fmla="*/ 203 h 514"/>
                  <a:gd name="T24" fmla="*/ 401 w 404"/>
                  <a:gd name="T25" fmla="*/ 406 h 514"/>
                  <a:gd name="T26" fmla="*/ 404 w 404"/>
                  <a:gd name="T27" fmla="*/ 503 h 514"/>
                  <a:gd name="T28" fmla="*/ 322 w 404"/>
                  <a:gd name="T29" fmla="*/ 503 h 514"/>
                  <a:gd name="T30" fmla="*/ 322 w 404"/>
                  <a:gd name="T31" fmla="*/ 439 h 514"/>
                  <a:gd name="T32" fmla="*/ 321 w 404"/>
                  <a:gd name="T33" fmla="*/ 439 h 514"/>
                  <a:gd name="T34" fmla="*/ 174 w 404"/>
                  <a:gd name="T35" fmla="*/ 514 h 514"/>
                  <a:gd name="T36" fmla="*/ 0 w 404"/>
                  <a:gd name="T37" fmla="*/ 361 h 514"/>
                  <a:gd name="T38" fmla="*/ 220 w 404"/>
                  <a:gd name="T39" fmla="*/ 199 h 514"/>
                  <a:gd name="T40" fmla="*/ 313 w 404"/>
                  <a:gd name="T41" fmla="*/ 201 h 514"/>
                  <a:gd name="T42" fmla="*/ 196 w 404"/>
                  <a:gd name="T43" fmla="*/ 73 h 514"/>
                  <a:gd name="T44" fmla="*/ 58 w 404"/>
                  <a:gd name="T45" fmla="*/ 123 h 514"/>
                  <a:gd name="T46" fmla="*/ 54 w 404"/>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4" h="514">
                    <a:moveTo>
                      <a:pt x="313" y="269"/>
                    </a:moveTo>
                    <a:lnTo>
                      <a:pt x="313" y="269"/>
                    </a:lnTo>
                    <a:cubicBezTo>
                      <a:pt x="295" y="269"/>
                      <a:pt x="276" y="267"/>
                      <a:pt x="257" y="267"/>
                    </a:cubicBezTo>
                    <a:cubicBezTo>
                      <a:pt x="210" y="267"/>
                      <a:pt x="93" y="275"/>
                      <a:pt x="93" y="361"/>
                    </a:cubicBezTo>
                    <a:cubicBezTo>
                      <a:pt x="93" y="413"/>
                      <a:pt x="141" y="441"/>
                      <a:pt x="181" y="441"/>
                    </a:cubicBezTo>
                    <a:cubicBezTo>
                      <a:pt x="268" y="441"/>
                      <a:pt x="313" y="385"/>
                      <a:pt x="313" y="312"/>
                    </a:cubicBezTo>
                    <a:lnTo>
                      <a:pt x="313" y="269"/>
                    </a:lnTo>
                    <a:lnTo>
                      <a:pt x="313" y="269"/>
                    </a:lnTo>
                    <a:close/>
                    <a:moveTo>
                      <a:pt x="54" y="46"/>
                    </a:moveTo>
                    <a:lnTo>
                      <a:pt x="54" y="46"/>
                    </a:lnTo>
                    <a:cubicBezTo>
                      <a:pt x="98" y="19"/>
                      <a:pt x="150" y="0"/>
                      <a:pt x="210" y="0"/>
                    </a:cubicBezTo>
                    <a:cubicBezTo>
                      <a:pt x="346" y="0"/>
                      <a:pt x="401" y="69"/>
                      <a:pt x="401" y="203"/>
                    </a:cubicBezTo>
                    <a:lnTo>
                      <a:pt x="401" y="406"/>
                    </a:lnTo>
                    <a:cubicBezTo>
                      <a:pt x="401" y="462"/>
                      <a:pt x="403" y="488"/>
                      <a:pt x="404" y="503"/>
                    </a:cubicBezTo>
                    <a:lnTo>
                      <a:pt x="322" y="503"/>
                    </a:lnTo>
                    <a:lnTo>
                      <a:pt x="322" y="439"/>
                    </a:lnTo>
                    <a:lnTo>
                      <a:pt x="321" y="439"/>
                    </a:lnTo>
                    <a:cubicBezTo>
                      <a:pt x="300" y="469"/>
                      <a:pt x="254" y="514"/>
                      <a:pt x="174" y="514"/>
                    </a:cubicBezTo>
                    <a:cubicBezTo>
                      <a:pt x="71" y="514"/>
                      <a:pt x="0" y="468"/>
                      <a:pt x="0" y="361"/>
                    </a:cubicBezTo>
                    <a:cubicBezTo>
                      <a:pt x="0" y="238"/>
                      <a:pt x="130" y="199"/>
                      <a:pt x="220" y="199"/>
                    </a:cubicBezTo>
                    <a:cubicBezTo>
                      <a:pt x="255" y="199"/>
                      <a:pt x="279" y="199"/>
                      <a:pt x="313" y="201"/>
                    </a:cubicBezTo>
                    <a:cubicBezTo>
                      <a:pt x="313" y="116"/>
                      <a:pt x="283" y="73"/>
                      <a:pt x="196" y="73"/>
                    </a:cubicBezTo>
                    <a:cubicBezTo>
                      <a:pt x="147" y="73"/>
                      <a:pt x="94" y="92"/>
                      <a:pt x="58"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4" name="Freeform 53"/>
              <p:cNvSpPr>
                <a:spLocks/>
              </p:cNvSpPr>
              <p:nvPr/>
            </p:nvSpPr>
            <p:spPr bwMode="gray">
              <a:xfrm>
                <a:off x="7196138" y="1725613"/>
                <a:ext cx="115888" cy="138113"/>
              </a:xfrm>
              <a:custGeom>
                <a:avLst/>
                <a:gdLst>
                  <a:gd name="T0" fmla="*/ 0 w 419"/>
                  <a:gd name="T1" fmla="*/ 11 h 503"/>
                  <a:gd name="T2" fmla="*/ 0 w 419"/>
                  <a:gd name="T3" fmla="*/ 11 h 503"/>
                  <a:gd name="T4" fmla="*/ 85 w 419"/>
                  <a:gd name="T5" fmla="*/ 11 h 503"/>
                  <a:gd name="T6" fmla="*/ 85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5" y="11"/>
                    </a:lnTo>
                    <a:lnTo>
                      <a:pt x="85" y="89"/>
                    </a:lnTo>
                    <a:lnTo>
                      <a:pt x="86" y="89"/>
                    </a:lnTo>
                    <a:cubicBezTo>
                      <a:pt x="112" y="34"/>
                      <a:pt x="176" y="0"/>
                      <a:pt x="242" y="0"/>
                    </a:cubicBezTo>
                    <a:cubicBezTo>
                      <a:pt x="365"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5" name="Freeform 54"/>
              <p:cNvSpPr>
                <a:spLocks/>
              </p:cNvSpPr>
              <p:nvPr/>
            </p:nvSpPr>
            <p:spPr bwMode="gray">
              <a:xfrm>
                <a:off x="7348538" y="1725613"/>
                <a:ext cx="82550" cy="141288"/>
              </a:xfrm>
              <a:custGeom>
                <a:avLst/>
                <a:gdLst>
                  <a:gd name="T0" fmla="*/ 7 w 298"/>
                  <a:gd name="T1" fmla="*/ 406 h 514"/>
                  <a:gd name="T2" fmla="*/ 7 w 298"/>
                  <a:gd name="T3" fmla="*/ 406 h 514"/>
                  <a:gd name="T4" fmla="*/ 116 w 298"/>
                  <a:gd name="T5" fmla="*/ 441 h 514"/>
                  <a:gd name="T6" fmla="*/ 205 w 298"/>
                  <a:gd name="T7" fmla="*/ 371 h 514"/>
                  <a:gd name="T8" fmla="*/ 0 w 298"/>
                  <a:gd name="T9" fmla="*/ 151 h 514"/>
                  <a:gd name="T10" fmla="*/ 167 w 298"/>
                  <a:gd name="T11" fmla="*/ 0 h 514"/>
                  <a:gd name="T12" fmla="*/ 276 w 298"/>
                  <a:gd name="T13" fmla="*/ 19 h 514"/>
                  <a:gd name="T14" fmla="*/ 269 w 298"/>
                  <a:gd name="T15" fmla="*/ 98 h 514"/>
                  <a:gd name="T16" fmla="*/ 177 w 298"/>
                  <a:gd name="T17" fmla="*/ 73 h 514"/>
                  <a:gd name="T18" fmla="*/ 93 w 298"/>
                  <a:gd name="T19" fmla="*/ 133 h 514"/>
                  <a:gd name="T20" fmla="*/ 298 w 298"/>
                  <a:gd name="T21" fmla="*/ 361 h 514"/>
                  <a:gd name="T22" fmla="*/ 133 w 298"/>
                  <a:gd name="T23" fmla="*/ 514 h 514"/>
                  <a:gd name="T24" fmla="*/ 3 w 298"/>
                  <a:gd name="T25" fmla="*/ 487 h 514"/>
                  <a:gd name="T26" fmla="*/ 7 w 298"/>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514">
                    <a:moveTo>
                      <a:pt x="7" y="406"/>
                    </a:moveTo>
                    <a:lnTo>
                      <a:pt x="7" y="406"/>
                    </a:lnTo>
                    <a:cubicBezTo>
                      <a:pt x="42" y="429"/>
                      <a:pt x="91" y="441"/>
                      <a:pt x="116" y="441"/>
                    </a:cubicBezTo>
                    <a:cubicBezTo>
                      <a:pt x="156" y="441"/>
                      <a:pt x="205" y="424"/>
                      <a:pt x="205" y="371"/>
                    </a:cubicBezTo>
                    <a:cubicBezTo>
                      <a:pt x="205" y="281"/>
                      <a:pt x="0" y="289"/>
                      <a:pt x="0" y="151"/>
                    </a:cubicBezTo>
                    <a:cubicBezTo>
                      <a:pt x="0" y="49"/>
                      <a:pt x="73" y="0"/>
                      <a:pt x="167" y="0"/>
                    </a:cubicBezTo>
                    <a:cubicBezTo>
                      <a:pt x="208" y="0"/>
                      <a:pt x="242" y="8"/>
                      <a:pt x="276" y="19"/>
                    </a:cubicBezTo>
                    <a:lnTo>
                      <a:pt x="269" y="98"/>
                    </a:lnTo>
                    <a:cubicBezTo>
                      <a:pt x="249" y="86"/>
                      <a:pt x="197" y="73"/>
                      <a:pt x="177" y="73"/>
                    </a:cubicBezTo>
                    <a:cubicBezTo>
                      <a:pt x="132" y="73"/>
                      <a:pt x="93" y="92"/>
                      <a:pt x="93" y="133"/>
                    </a:cubicBezTo>
                    <a:cubicBezTo>
                      <a:pt x="93" y="233"/>
                      <a:pt x="298" y="204"/>
                      <a:pt x="298" y="361"/>
                    </a:cubicBezTo>
                    <a:cubicBezTo>
                      <a:pt x="298" y="466"/>
                      <a:pt x="218" y="514"/>
                      <a:pt x="133" y="514"/>
                    </a:cubicBezTo>
                    <a:cubicBezTo>
                      <a:pt x="88" y="514"/>
                      <a:pt x="43" y="509"/>
                      <a:pt x="3" y="487"/>
                    </a:cubicBezTo>
                    <a:lnTo>
                      <a:pt x="7"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6" name="Freeform 55"/>
              <p:cNvSpPr>
                <a:spLocks/>
              </p:cNvSpPr>
              <p:nvPr/>
            </p:nvSpPr>
            <p:spPr bwMode="gray">
              <a:xfrm>
                <a:off x="7451725" y="1660526"/>
                <a:ext cx="92075" cy="203200"/>
              </a:xfrm>
              <a:custGeom>
                <a:avLst/>
                <a:gdLst>
                  <a:gd name="T0" fmla="*/ 112 w 329"/>
                  <a:gd name="T1" fmla="*/ 315 h 734"/>
                  <a:gd name="T2" fmla="*/ 112 w 329"/>
                  <a:gd name="T3" fmla="*/ 315 h 734"/>
                  <a:gd name="T4" fmla="*/ 0 w 329"/>
                  <a:gd name="T5" fmla="*/ 315 h 734"/>
                  <a:gd name="T6" fmla="*/ 0 w 329"/>
                  <a:gd name="T7" fmla="*/ 242 h 734"/>
                  <a:gd name="T8" fmla="*/ 112 w 329"/>
                  <a:gd name="T9" fmla="*/ 242 h 734"/>
                  <a:gd name="T10" fmla="*/ 112 w 329"/>
                  <a:gd name="T11" fmla="*/ 197 h 734"/>
                  <a:gd name="T12" fmla="*/ 270 w 329"/>
                  <a:gd name="T13" fmla="*/ 0 h 734"/>
                  <a:gd name="T14" fmla="*/ 329 w 329"/>
                  <a:gd name="T15" fmla="*/ 5 h 734"/>
                  <a:gd name="T16" fmla="*/ 325 w 329"/>
                  <a:gd name="T17" fmla="*/ 79 h 734"/>
                  <a:gd name="T18" fmla="*/ 284 w 329"/>
                  <a:gd name="T19" fmla="*/ 73 h 734"/>
                  <a:gd name="T20" fmla="*/ 199 w 329"/>
                  <a:gd name="T21" fmla="*/ 190 h 734"/>
                  <a:gd name="T22" fmla="*/ 199 w 329"/>
                  <a:gd name="T23" fmla="*/ 242 h 734"/>
                  <a:gd name="T24" fmla="*/ 324 w 329"/>
                  <a:gd name="T25" fmla="*/ 242 h 734"/>
                  <a:gd name="T26" fmla="*/ 324 w 329"/>
                  <a:gd name="T27" fmla="*/ 315 h 734"/>
                  <a:gd name="T28" fmla="*/ 199 w 329"/>
                  <a:gd name="T29" fmla="*/ 315 h 734"/>
                  <a:gd name="T30" fmla="*/ 199 w 329"/>
                  <a:gd name="T31" fmla="*/ 734 h 734"/>
                  <a:gd name="T32" fmla="*/ 112 w 329"/>
                  <a:gd name="T33" fmla="*/ 734 h 734"/>
                  <a:gd name="T34" fmla="*/ 112 w 329"/>
                  <a:gd name="T35" fmla="*/ 315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734">
                    <a:moveTo>
                      <a:pt x="112" y="315"/>
                    </a:moveTo>
                    <a:lnTo>
                      <a:pt x="112" y="315"/>
                    </a:lnTo>
                    <a:lnTo>
                      <a:pt x="0" y="315"/>
                    </a:lnTo>
                    <a:lnTo>
                      <a:pt x="0" y="242"/>
                    </a:lnTo>
                    <a:lnTo>
                      <a:pt x="112" y="242"/>
                    </a:lnTo>
                    <a:lnTo>
                      <a:pt x="112" y="197"/>
                    </a:lnTo>
                    <a:cubicBezTo>
                      <a:pt x="112" y="78"/>
                      <a:pt x="141" y="0"/>
                      <a:pt x="270" y="0"/>
                    </a:cubicBezTo>
                    <a:cubicBezTo>
                      <a:pt x="293" y="0"/>
                      <a:pt x="312" y="2"/>
                      <a:pt x="329" y="5"/>
                    </a:cubicBezTo>
                    <a:lnTo>
                      <a:pt x="325" y="79"/>
                    </a:lnTo>
                    <a:cubicBezTo>
                      <a:pt x="315" y="75"/>
                      <a:pt x="298" y="73"/>
                      <a:pt x="284" y="73"/>
                    </a:cubicBezTo>
                    <a:cubicBezTo>
                      <a:pt x="208" y="73"/>
                      <a:pt x="199" y="123"/>
                      <a:pt x="199" y="190"/>
                    </a:cubicBezTo>
                    <a:lnTo>
                      <a:pt x="199" y="242"/>
                    </a:lnTo>
                    <a:lnTo>
                      <a:pt x="324" y="242"/>
                    </a:lnTo>
                    <a:lnTo>
                      <a:pt x="324" y="315"/>
                    </a:lnTo>
                    <a:lnTo>
                      <a:pt x="199" y="315"/>
                    </a:lnTo>
                    <a:lnTo>
                      <a:pt x="199" y="734"/>
                    </a:lnTo>
                    <a:lnTo>
                      <a:pt x="112" y="734"/>
                    </a:lnTo>
                    <a:lnTo>
                      <a:pt x="112" y="31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7" name="Freeform 56"/>
              <p:cNvSpPr>
                <a:spLocks noEditPoints="1"/>
              </p:cNvSpPr>
              <p:nvPr/>
            </p:nvSpPr>
            <p:spPr bwMode="gray">
              <a:xfrm>
                <a:off x="7564438" y="1725613"/>
                <a:ext cx="134938" cy="141288"/>
              </a:xfrm>
              <a:custGeom>
                <a:avLst/>
                <a:gdLst>
                  <a:gd name="T0" fmla="*/ 242 w 483"/>
                  <a:gd name="T1" fmla="*/ 441 h 514"/>
                  <a:gd name="T2" fmla="*/ 242 w 483"/>
                  <a:gd name="T3" fmla="*/ 441 h 514"/>
                  <a:gd name="T4" fmla="*/ 390 w 483"/>
                  <a:gd name="T5" fmla="*/ 257 h 514"/>
                  <a:gd name="T6" fmla="*/ 242 w 483"/>
                  <a:gd name="T7" fmla="*/ 73 h 514"/>
                  <a:gd name="T8" fmla="*/ 93 w 483"/>
                  <a:gd name="T9" fmla="*/ 257 h 514"/>
                  <a:gd name="T10" fmla="*/ 242 w 483"/>
                  <a:gd name="T11" fmla="*/ 441 h 514"/>
                  <a:gd name="T12" fmla="*/ 242 w 483"/>
                  <a:gd name="T13" fmla="*/ 441 h 514"/>
                  <a:gd name="T14" fmla="*/ 242 w 483"/>
                  <a:gd name="T15" fmla="*/ 0 h 514"/>
                  <a:gd name="T16" fmla="*/ 242 w 483"/>
                  <a:gd name="T17" fmla="*/ 0 h 514"/>
                  <a:gd name="T18" fmla="*/ 483 w 483"/>
                  <a:gd name="T19" fmla="*/ 257 h 514"/>
                  <a:gd name="T20" fmla="*/ 242 w 483"/>
                  <a:gd name="T21" fmla="*/ 514 h 514"/>
                  <a:gd name="T22" fmla="*/ 0 w 483"/>
                  <a:gd name="T23" fmla="*/ 257 h 514"/>
                  <a:gd name="T24" fmla="*/ 242 w 483"/>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514">
                    <a:moveTo>
                      <a:pt x="242" y="441"/>
                    </a:moveTo>
                    <a:lnTo>
                      <a:pt x="242" y="441"/>
                    </a:lnTo>
                    <a:cubicBezTo>
                      <a:pt x="344" y="441"/>
                      <a:pt x="390" y="345"/>
                      <a:pt x="390" y="257"/>
                    </a:cubicBezTo>
                    <a:cubicBezTo>
                      <a:pt x="390" y="164"/>
                      <a:pt x="335" y="73"/>
                      <a:pt x="242" y="73"/>
                    </a:cubicBezTo>
                    <a:cubicBezTo>
                      <a:pt x="148" y="73"/>
                      <a:pt x="93" y="164"/>
                      <a:pt x="93" y="257"/>
                    </a:cubicBezTo>
                    <a:cubicBezTo>
                      <a:pt x="93" y="345"/>
                      <a:pt x="139" y="441"/>
                      <a:pt x="242" y="441"/>
                    </a:cubicBezTo>
                    <a:lnTo>
                      <a:pt x="242" y="441"/>
                    </a:lnTo>
                    <a:close/>
                    <a:moveTo>
                      <a:pt x="242" y="0"/>
                    </a:moveTo>
                    <a:lnTo>
                      <a:pt x="242" y="0"/>
                    </a:lnTo>
                    <a:cubicBezTo>
                      <a:pt x="386" y="0"/>
                      <a:pt x="483" y="108"/>
                      <a:pt x="483" y="257"/>
                    </a:cubicBezTo>
                    <a:cubicBezTo>
                      <a:pt x="483" y="397"/>
                      <a:pt x="384" y="514"/>
                      <a:pt x="242" y="514"/>
                    </a:cubicBezTo>
                    <a:cubicBezTo>
                      <a:pt x="99" y="514"/>
                      <a:pt x="0" y="397"/>
                      <a:pt x="0" y="257"/>
                    </a:cubicBezTo>
                    <a:cubicBezTo>
                      <a:pt x="0" y="108"/>
                      <a:pt x="97" y="0"/>
                      <a:pt x="242" y="0"/>
                    </a:cubicBez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8" name="Freeform 57"/>
              <p:cNvSpPr>
                <a:spLocks/>
              </p:cNvSpPr>
              <p:nvPr/>
            </p:nvSpPr>
            <p:spPr bwMode="gray">
              <a:xfrm>
                <a:off x="7737475" y="1725613"/>
                <a:ext cx="74613" cy="138113"/>
              </a:xfrm>
              <a:custGeom>
                <a:avLst/>
                <a:gdLst>
                  <a:gd name="T0" fmla="*/ 0 w 266"/>
                  <a:gd name="T1" fmla="*/ 11 h 503"/>
                  <a:gd name="T2" fmla="*/ 0 w 266"/>
                  <a:gd name="T3" fmla="*/ 11 h 503"/>
                  <a:gd name="T4" fmla="*/ 82 w 266"/>
                  <a:gd name="T5" fmla="*/ 11 h 503"/>
                  <a:gd name="T6" fmla="*/ 82 w 266"/>
                  <a:gd name="T7" fmla="*/ 87 h 503"/>
                  <a:gd name="T8" fmla="*/ 84 w 266"/>
                  <a:gd name="T9" fmla="*/ 87 h 503"/>
                  <a:gd name="T10" fmla="*/ 208 w 266"/>
                  <a:gd name="T11" fmla="*/ 0 h 503"/>
                  <a:gd name="T12" fmla="*/ 266 w 266"/>
                  <a:gd name="T13" fmla="*/ 7 h 503"/>
                  <a:gd name="T14" fmla="*/ 266 w 266"/>
                  <a:gd name="T15" fmla="*/ 87 h 503"/>
                  <a:gd name="T16" fmla="*/ 217 w 266"/>
                  <a:gd name="T17" fmla="*/ 79 h 503"/>
                  <a:gd name="T18" fmla="*/ 88 w 266"/>
                  <a:gd name="T19" fmla="*/ 279 h 503"/>
                  <a:gd name="T20" fmla="*/ 88 w 266"/>
                  <a:gd name="T21" fmla="*/ 503 h 503"/>
                  <a:gd name="T22" fmla="*/ 0 w 266"/>
                  <a:gd name="T23" fmla="*/ 503 h 503"/>
                  <a:gd name="T24" fmla="*/ 0 w 266"/>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503">
                    <a:moveTo>
                      <a:pt x="0" y="11"/>
                    </a:moveTo>
                    <a:lnTo>
                      <a:pt x="0" y="11"/>
                    </a:lnTo>
                    <a:lnTo>
                      <a:pt x="82" y="11"/>
                    </a:lnTo>
                    <a:lnTo>
                      <a:pt x="82" y="87"/>
                    </a:lnTo>
                    <a:lnTo>
                      <a:pt x="84" y="87"/>
                    </a:lnTo>
                    <a:cubicBezTo>
                      <a:pt x="108" y="37"/>
                      <a:pt x="158" y="0"/>
                      <a:pt x="208" y="0"/>
                    </a:cubicBezTo>
                    <a:cubicBezTo>
                      <a:pt x="234" y="0"/>
                      <a:pt x="247" y="3"/>
                      <a:pt x="266" y="7"/>
                    </a:cubicBezTo>
                    <a:lnTo>
                      <a:pt x="266" y="87"/>
                    </a:lnTo>
                    <a:cubicBezTo>
                      <a:pt x="250"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59" name="Freeform 58"/>
              <p:cNvSpPr>
                <a:spLocks/>
              </p:cNvSpPr>
              <p:nvPr/>
            </p:nvSpPr>
            <p:spPr bwMode="gray">
              <a:xfrm>
                <a:off x="7845425" y="1725613"/>
                <a:ext cx="188913" cy="138113"/>
              </a:xfrm>
              <a:custGeom>
                <a:avLst/>
                <a:gdLst>
                  <a:gd name="T0" fmla="*/ 0 w 681"/>
                  <a:gd name="T1" fmla="*/ 11 h 503"/>
                  <a:gd name="T2" fmla="*/ 0 w 681"/>
                  <a:gd name="T3" fmla="*/ 11 h 503"/>
                  <a:gd name="T4" fmla="*/ 82 w 681"/>
                  <a:gd name="T5" fmla="*/ 11 h 503"/>
                  <a:gd name="T6" fmla="*/ 82 w 681"/>
                  <a:gd name="T7" fmla="*/ 83 h 503"/>
                  <a:gd name="T8" fmla="*/ 83 w 681"/>
                  <a:gd name="T9" fmla="*/ 83 h 503"/>
                  <a:gd name="T10" fmla="*/ 234 w 681"/>
                  <a:gd name="T11" fmla="*/ 0 h 503"/>
                  <a:gd name="T12" fmla="*/ 369 w 681"/>
                  <a:gd name="T13" fmla="*/ 95 h 503"/>
                  <a:gd name="T14" fmla="*/ 516 w 681"/>
                  <a:gd name="T15" fmla="*/ 0 h 503"/>
                  <a:gd name="T16" fmla="*/ 681 w 681"/>
                  <a:gd name="T17" fmla="*/ 188 h 503"/>
                  <a:gd name="T18" fmla="*/ 681 w 681"/>
                  <a:gd name="T19" fmla="*/ 503 h 503"/>
                  <a:gd name="T20" fmla="*/ 593 w 681"/>
                  <a:gd name="T21" fmla="*/ 503 h 503"/>
                  <a:gd name="T22" fmla="*/ 593 w 681"/>
                  <a:gd name="T23" fmla="*/ 210 h 503"/>
                  <a:gd name="T24" fmla="*/ 509 w 681"/>
                  <a:gd name="T25" fmla="*/ 73 h 503"/>
                  <a:gd name="T26" fmla="*/ 384 w 681"/>
                  <a:gd name="T27" fmla="*/ 255 h 503"/>
                  <a:gd name="T28" fmla="*/ 384 w 681"/>
                  <a:gd name="T29" fmla="*/ 503 h 503"/>
                  <a:gd name="T30" fmla="*/ 297 w 681"/>
                  <a:gd name="T31" fmla="*/ 503 h 503"/>
                  <a:gd name="T32" fmla="*/ 297 w 681"/>
                  <a:gd name="T33" fmla="*/ 210 h 503"/>
                  <a:gd name="T34" fmla="*/ 212 w 681"/>
                  <a:gd name="T35" fmla="*/ 73 h 503"/>
                  <a:gd name="T36" fmla="*/ 87 w 681"/>
                  <a:gd name="T37" fmla="*/ 255 h 503"/>
                  <a:gd name="T38" fmla="*/ 87 w 681"/>
                  <a:gd name="T39" fmla="*/ 503 h 503"/>
                  <a:gd name="T40" fmla="*/ 0 w 681"/>
                  <a:gd name="T41" fmla="*/ 503 h 503"/>
                  <a:gd name="T42" fmla="*/ 0 w 681"/>
                  <a:gd name="T43"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1" h="503">
                    <a:moveTo>
                      <a:pt x="0" y="11"/>
                    </a:moveTo>
                    <a:lnTo>
                      <a:pt x="0" y="11"/>
                    </a:lnTo>
                    <a:lnTo>
                      <a:pt x="82" y="11"/>
                    </a:lnTo>
                    <a:lnTo>
                      <a:pt x="82" y="83"/>
                    </a:lnTo>
                    <a:lnTo>
                      <a:pt x="83" y="83"/>
                    </a:lnTo>
                    <a:cubicBezTo>
                      <a:pt x="117" y="26"/>
                      <a:pt x="164" y="0"/>
                      <a:pt x="234" y="0"/>
                    </a:cubicBezTo>
                    <a:cubicBezTo>
                      <a:pt x="289" y="0"/>
                      <a:pt x="344" y="29"/>
                      <a:pt x="369" y="95"/>
                    </a:cubicBezTo>
                    <a:cubicBezTo>
                      <a:pt x="402" y="25"/>
                      <a:pt x="473" y="0"/>
                      <a:pt x="516" y="0"/>
                    </a:cubicBezTo>
                    <a:cubicBezTo>
                      <a:pt x="637" y="0"/>
                      <a:pt x="681" y="81"/>
                      <a:pt x="681" y="188"/>
                    </a:cubicBezTo>
                    <a:lnTo>
                      <a:pt x="681" y="503"/>
                    </a:lnTo>
                    <a:lnTo>
                      <a:pt x="593" y="503"/>
                    </a:lnTo>
                    <a:lnTo>
                      <a:pt x="593" y="210"/>
                    </a:lnTo>
                    <a:cubicBezTo>
                      <a:pt x="593" y="149"/>
                      <a:pt x="579" y="73"/>
                      <a:pt x="509" y="73"/>
                    </a:cubicBezTo>
                    <a:cubicBezTo>
                      <a:pt x="419" y="73"/>
                      <a:pt x="384" y="164"/>
                      <a:pt x="384" y="255"/>
                    </a:cubicBezTo>
                    <a:lnTo>
                      <a:pt x="384" y="503"/>
                    </a:lnTo>
                    <a:lnTo>
                      <a:pt x="297" y="503"/>
                    </a:lnTo>
                    <a:lnTo>
                      <a:pt x="297" y="210"/>
                    </a:lnTo>
                    <a:cubicBezTo>
                      <a:pt x="297" y="149"/>
                      <a:pt x="282" y="73"/>
                      <a:pt x="212" y="73"/>
                    </a:cubicBezTo>
                    <a:cubicBezTo>
                      <a:pt x="122" y="73"/>
                      <a:pt x="87" y="164"/>
                      <a:pt x="87" y="25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0" name="Freeform 59"/>
              <p:cNvSpPr>
                <a:spLocks noEditPoints="1"/>
              </p:cNvSpPr>
              <p:nvPr/>
            </p:nvSpPr>
            <p:spPr bwMode="gray">
              <a:xfrm>
                <a:off x="8081963" y="1670051"/>
                <a:ext cx="28575" cy="193675"/>
              </a:xfrm>
              <a:custGeom>
                <a:avLst/>
                <a:gdLst>
                  <a:gd name="T0" fmla="*/ 6 w 99"/>
                  <a:gd name="T1" fmla="*/ 212 h 704"/>
                  <a:gd name="T2" fmla="*/ 6 w 99"/>
                  <a:gd name="T3" fmla="*/ 212 h 704"/>
                  <a:gd name="T4" fmla="*/ 93 w 99"/>
                  <a:gd name="T5" fmla="*/ 212 h 704"/>
                  <a:gd name="T6" fmla="*/ 93 w 99"/>
                  <a:gd name="T7" fmla="*/ 704 h 704"/>
                  <a:gd name="T8" fmla="*/ 6 w 99"/>
                  <a:gd name="T9" fmla="*/ 704 h 704"/>
                  <a:gd name="T10" fmla="*/ 6 w 99"/>
                  <a:gd name="T11" fmla="*/ 212 h 704"/>
                  <a:gd name="T12" fmla="*/ 0 w 99"/>
                  <a:gd name="T13" fmla="*/ 0 h 704"/>
                  <a:gd name="T14" fmla="*/ 0 w 99"/>
                  <a:gd name="T15" fmla="*/ 0 h 704"/>
                  <a:gd name="T16" fmla="*/ 99 w 99"/>
                  <a:gd name="T17" fmla="*/ 0 h 704"/>
                  <a:gd name="T18" fmla="*/ 99 w 99"/>
                  <a:gd name="T19" fmla="*/ 103 h 704"/>
                  <a:gd name="T20" fmla="*/ 0 w 99"/>
                  <a:gd name="T21" fmla="*/ 103 h 704"/>
                  <a:gd name="T22" fmla="*/ 0 w 99"/>
                  <a:gd name="T23"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704">
                    <a:moveTo>
                      <a:pt x="6" y="212"/>
                    </a:moveTo>
                    <a:lnTo>
                      <a:pt x="6" y="212"/>
                    </a:lnTo>
                    <a:lnTo>
                      <a:pt x="93" y="212"/>
                    </a:lnTo>
                    <a:lnTo>
                      <a:pt x="93" y="704"/>
                    </a:lnTo>
                    <a:lnTo>
                      <a:pt x="6" y="704"/>
                    </a:lnTo>
                    <a:lnTo>
                      <a:pt x="6" y="212"/>
                    </a:lnTo>
                    <a:close/>
                    <a:moveTo>
                      <a:pt x="0" y="0"/>
                    </a:moveTo>
                    <a:lnTo>
                      <a:pt x="0" y="0"/>
                    </a:lnTo>
                    <a:lnTo>
                      <a:pt x="99" y="0"/>
                    </a:lnTo>
                    <a:lnTo>
                      <a:pt x="99" y="103"/>
                    </a:lnTo>
                    <a:lnTo>
                      <a:pt x="0" y="103"/>
                    </a:lnTo>
                    <a:lnTo>
                      <a:pt x="0"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1" name="Freeform 60"/>
              <p:cNvSpPr>
                <a:spLocks/>
              </p:cNvSpPr>
              <p:nvPr/>
            </p:nvSpPr>
            <p:spPr bwMode="gray">
              <a:xfrm>
                <a:off x="8159750"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3" y="34"/>
                      <a:pt x="176" y="0"/>
                      <a:pt x="242" y="0"/>
                    </a:cubicBezTo>
                    <a:cubicBezTo>
                      <a:pt x="364"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2" name="Freeform 61"/>
              <p:cNvSpPr>
                <a:spLocks noEditPoints="1"/>
              </p:cNvSpPr>
              <p:nvPr/>
            </p:nvSpPr>
            <p:spPr bwMode="gray">
              <a:xfrm>
                <a:off x="8315325" y="1725613"/>
                <a:ext cx="125413" cy="198438"/>
              </a:xfrm>
              <a:custGeom>
                <a:avLst/>
                <a:gdLst>
                  <a:gd name="T0" fmla="*/ 364 w 451"/>
                  <a:gd name="T1" fmla="*/ 263 h 717"/>
                  <a:gd name="T2" fmla="*/ 364 w 451"/>
                  <a:gd name="T3" fmla="*/ 263 h 717"/>
                  <a:gd name="T4" fmla="*/ 225 w 451"/>
                  <a:gd name="T5" fmla="*/ 73 h 717"/>
                  <a:gd name="T6" fmla="*/ 93 w 451"/>
                  <a:gd name="T7" fmla="*/ 256 h 717"/>
                  <a:gd name="T8" fmla="*/ 225 w 451"/>
                  <a:gd name="T9" fmla="*/ 429 h 717"/>
                  <a:gd name="T10" fmla="*/ 364 w 451"/>
                  <a:gd name="T11" fmla="*/ 263 h 717"/>
                  <a:gd name="T12" fmla="*/ 364 w 451"/>
                  <a:gd name="T13" fmla="*/ 263 h 717"/>
                  <a:gd name="T14" fmla="*/ 451 w 451"/>
                  <a:gd name="T15" fmla="*/ 482 h 717"/>
                  <a:gd name="T16" fmla="*/ 451 w 451"/>
                  <a:gd name="T17" fmla="*/ 482 h 717"/>
                  <a:gd name="T18" fmla="*/ 206 w 451"/>
                  <a:gd name="T19" fmla="*/ 717 h 717"/>
                  <a:gd name="T20" fmla="*/ 36 w 451"/>
                  <a:gd name="T21" fmla="*/ 683 h 717"/>
                  <a:gd name="T22" fmla="*/ 46 w 451"/>
                  <a:gd name="T23" fmla="*/ 599 h 717"/>
                  <a:gd name="T24" fmla="*/ 217 w 451"/>
                  <a:gd name="T25" fmla="*/ 643 h 717"/>
                  <a:gd name="T26" fmla="*/ 364 w 451"/>
                  <a:gd name="T27" fmla="*/ 475 h 717"/>
                  <a:gd name="T28" fmla="*/ 364 w 451"/>
                  <a:gd name="T29" fmla="*/ 427 h 717"/>
                  <a:gd name="T30" fmla="*/ 362 w 451"/>
                  <a:gd name="T31" fmla="*/ 427 h 717"/>
                  <a:gd name="T32" fmla="*/ 203 w 451"/>
                  <a:gd name="T33" fmla="*/ 503 h 717"/>
                  <a:gd name="T34" fmla="*/ 0 w 451"/>
                  <a:gd name="T35" fmla="*/ 261 h 717"/>
                  <a:gd name="T36" fmla="*/ 212 w 451"/>
                  <a:gd name="T37" fmla="*/ 0 h 717"/>
                  <a:gd name="T38" fmla="*/ 368 w 451"/>
                  <a:gd name="T39" fmla="*/ 84 h 717"/>
                  <a:gd name="T40" fmla="*/ 370 w 451"/>
                  <a:gd name="T41" fmla="*/ 84 h 717"/>
                  <a:gd name="T42" fmla="*/ 370 w 451"/>
                  <a:gd name="T43" fmla="*/ 11 h 717"/>
                  <a:gd name="T44" fmla="*/ 451 w 451"/>
                  <a:gd name="T45" fmla="*/ 11 h 717"/>
                  <a:gd name="T46" fmla="*/ 451 w 451"/>
                  <a:gd name="T47" fmla="*/ 4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1" h="717">
                    <a:moveTo>
                      <a:pt x="364" y="263"/>
                    </a:moveTo>
                    <a:lnTo>
                      <a:pt x="364" y="263"/>
                    </a:lnTo>
                    <a:cubicBezTo>
                      <a:pt x="364" y="161"/>
                      <a:pt x="318" y="73"/>
                      <a:pt x="225" y="73"/>
                    </a:cubicBezTo>
                    <a:cubicBezTo>
                      <a:pt x="137" y="73"/>
                      <a:pt x="93" y="172"/>
                      <a:pt x="93" y="256"/>
                    </a:cubicBezTo>
                    <a:cubicBezTo>
                      <a:pt x="93" y="349"/>
                      <a:pt x="143" y="429"/>
                      <a:pt x="225" y="429"/>
                    </a:cubicBezTo>
                    <a:cubicBezTo>
                      <a:pt x="307" y="429"/>
                      <a:pt x="364" y="354"/>
                      <a:pt x="364" y="263"/>
                    </a:cubicBezTo>
                    <a:lnTo>
                      <a:pt x="364" y="263"/>
                    </a:lnTo>
                    <a:close/>
                    <a:moveTo>
                      <a:pt x="451" y="482"/>
                    </a:moveTo>
                    <a:lnTo>
                      <a:pt x="451" y="482"/>
                    </a:lnTo>
                    <a:cubicBezTo>
                      <a:pt x="451" y="631"/>
                      <a:pt x="377" y="717"/>
                      <a:pt x="206" y="717"/>
                    </a:cubicBezTo>
                    <a:cubicBezTo>
                      <a:pt x="156" y="717"/>
                      <a:pt x="112" y="710"/>
                      <a:pt x="36" y="683"/>
                    </a:cubicBezTo>
                    <a:lnTo>
                      <a:pt x="46" y="599"/>
                    </a:lnTo>
                    <a:cubicBezTo>
                      <a:pt x="112" y="631"/>
                      <a:pt x="153" y="643"/>
                      <a:pt x="217" y="643"/>
                    </a:cubicBezTo>
                    <a:cubicBezTo>
                      <a:pt x="309" y="643"/>
                      <a:pt x="364" y="579"/>
                      <a:pt x="364" y="475"/>
                    </a:cubicBezTo>
                    <a:lnTo>
                      <a:pt x="364" y="427"/>
                    </a:lnTo>
                    <a:lnTo>
                      <a:pt x="362" y="427"/>
                    </a:lnTo>
                    <a:cubicBezTo>
                      <a:pt x="325" y="478"/>
                      <a:pt x="263" y="503"/>
                      <a:pt x="203" y="503"/>
                    </a:cubicBezTo>
                    <a:cubicBezTo>
                      <a:pt x="67" y="503"/>
                      <a:pt x="0" y="388"/>
                      <a:pt x="0" y="261"/>
                    </a:cubicBezTo>
                    <a:cubicBezTo>
                      <a:pt x="0" y="135"/>
                      <a:pt x="69" y="0"/>
                      <a:pt x="212" y="0"/>
                    </a:cubicBezTo>
                    <a:cubicBezTo>
                      <a:pt x="296" y="0"/>
                      <a:pt x="342" y="32"/>
                      <a:pt x="368" y="84"/>
                    </a:cubicBezTo>
                    <a:lnTo>
                      <a:pt x="370" y="84"/>
                    </a:lnTo>
                    <a:lnTo>
                      <a:pt x="370" y="11"/>
                    </a:lnTo>
                    <a:lnTo>
                      <a:pt x="451" y="11"/>
                    </a:lnTo>
                    <a:lnTo>
                      <a:pt x="451"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3" name="Freeform 62"/>
              <p:cNvSpPr>
                <a:spLocks noEditPoints="1"/>
              </p:cNvSpPr>
              <p:nvPr/>
            </p:nvSpPr>
            <p:spPr bwMode="gray">
              <a:xfrm>
                <a:off x="8548688" y="1677988"/>
                <a:ext cx="180975" cy="185738"/>
              </a:xfrm>
              <a:custGeom>
                <a:avLst/>
                <a:gdLst>
                  <a:gd name="T0" fmla="*/ 323 w 649"/>
                  <a:gd name="T1" fmla="*/ 91 h 673"/>
                  <a:gd name="T2" fmla="*/ 323 w 649"/>
                  <a:gd name="T3" fmla="*/ 91 h 673"/>
                  <a:gd name="T4" fmla="*/ 193 w 649"/>
                  <a:gd name="T5" fmla="*/ 424 h 673"/>
                  <a:gd name="T6" fmla="*/ 452 w 649"/>
                  <a:gd name="T7" fmla="*/ 424 h 673"/>
                  <a:gd name="T8" fmla="*/ 323 w 649"/>
                  <a:gd name="T9" fmla="*/ 91 h 673"/>
                  <a:gd name="T10" fmla="*/ 323 w 649"/>
                  <a:gd name="T11" fmla="*/ 91 h 673"/>
                  <a:gd name="T12" fmla="*/ 277 w 649"/>
                  <a:gd name="T13" fmla="*/ 0 h 673"/>
                  <a:gd name="T14" fmla="*/ 277 w 649"/>
                  <a:gd name="T15" fmla="*/ 0 h 673"/>
                  <a:gd name="T16" fmla="*/ 375 w 649"/>
                  <a:gd name="T17" fmla="*/ 0 h 673"/>
                  <a:gd name="T18" fmla="*/ 649 w 649"/>
                  <a:gd name="T19" fmla="*/ 673 h 673"/>
                  <a:gd name="T20" fmla="*/ 548 w 649"/>
                  <a:gd name="T21" fmla="*/ 673 h 673"/>
                  <a:gd name="T22" fmla="*/ 482 w 649"/>
                  <a:gd name="T23" fmla="*/ 503 h 673"/>
                  <a:gd name="T24" fmla="*/ 164 w 649"/>
                  <a:gd name="T25" fmla="*/ 503 h 673"/>
                  <a:gd name="T26" fmla="*/ 98 w 649"/>
                  <a:gd name="T27" fmla="*/ 673 h 673"/>
                  <a:gd name="T28" fmla="*/ 0 w 649"/>
                  <a:gd name="T29" fmla="*/ 673 h 673"/>
                  <a:gd name="T30" fmla="*/ 277 w 649"/>
                  <a:gd name="T31"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 h="673">
                    <a:moveTo>
                      <a:pt x="323" y="91"/>
                    </a:moveTo>
                    <a:lnTo>
                      <a:pt x="323" y="91"/>
                    </a:lnTo>
                    <a:lnTo>
                      <a:pt x="193" y="424"/>
                    </a:lnTo>
                    <a:lnTo>
                      <a:pt x="452" y="424"/>
                    </a:lnTo>
                    <a:lnTo>
                      <a:pt x="323" y="91"/>
                    </a:lnTo>
                    <a:lnTo>
                      <a:pt x="323" y="91"/>
                    </a:lnTo>
                    <a:close/>
                    <a:moveTo>
                      <a:pt x="277" y="0"/>
                    </a:moveTo>
                    <a:lnTo>
                      <a:pt x="277" y="0"/>
                    </a:lnTo>
                    <a:lnTo>
                      <a:pt x="375" y="0"/>
                    </a:lnTo>
                    <a:lnTo>
                      <a:pt x="649" y="673"/>
                    </a:lnTo>
                    <a:lnTo>
                      <a:pt x="548" y="673"/>
                    </a:lnTo>
                    <a:lnTo>
                      <a:pt x="482" y="503"/>
                    </a:lnTo>
                    <a:lnTo>
                      <a:pt x="164" y="503"/>
                    </a:lnTo>
                    <a:lnTo>
                      <a:pt x="98" y="673"/>
                    </a:lnTo>
                    <a:lnTo>
                      <a:pt x="0" y="673"/>
                    </a:lnTo>
                    <a:lnTo>
                      <a:pt x="277"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4" name="Freeform 63"/>
              <p:cNvSpPr>
                <a:spLocks/>
              </p:cNvSpPr>
              <p:nvPr/>
            </p:nvSpPr>
            <p:spPr bwMode="gray">
              <a:xfrm>
                <a:off x="8747125" y="1725613"/>
                <a:ext cx="82550" cy="141288"/>
              </a:xfrm>
              <a:custGeom>
                <a:avLst/>
                <a:gdLst>
                  <a:gd name="T0" fmla="*/ 8 w 299"/>
                  <a:gd name="T1" fmla="*/ 406 h 514"/>
                  <a:gd name="T2" fmla="*/ 8 w 299"/>
                  <a:gd name="T3" fmla="*/ 406 h 514"/>
                  <a:gd name="T4" fmla="*/ 116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1" y="441"/>
                      <a:pt x="116" y="441"/>
                    </a:cubicBezTo>
                    <a:cubicBezTo>
                      <a:pt x="157" y="441"/>
                      <a:pt x="206" y="424"/>
                      <a:pt x="206" y="371"/>
                    </a:cubicBezTo>
                    <a:cubicBezTo>
                      <a:pt x="206" y="281"/>
                      <a:pt x="0" y="289"/>
                      <a:pt x="0" y="151"/>
                    </a:cubicBezTo>
                    <a:cubicBezTo>
                      <a:pt x="0" y="49"/>
                      <a:pt x="74" y="0"/>
                      <a:pt x="168" y="0"/>
                    </a:cubicBezTo>
                    <a:cubicBezTo>
                      <a:pt x="208"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5" name="Freeform 64"/>
              <p:cNvSpPr>
                <a:spLocks/>
              </p:cNvSpPr>
              <p:nvPr/>
            </p:nvSpPr>
            <p:spPr bwMode="gray">
              <a:xfrm>
                <a:off x="8853488" y="1725613"/>
                <a:ext cx="84138" cy="141288"/>
              </a:xfrm>
              <a:custGeom>
                <a:avLst/>
                <a:gdLst>
                  <a:gd name="T0" fmla="*/ 8 w 299"/>
                  <a:gd name="T1" fmla="*/ 406 h 514"/>
                  <a:gd name="T2" fmla="*/ 8 w 299"/>
                  <a:gd name="T3" fmla="*/ 406 h 514"/>
                  <a:gd name="T4" fmla="*/ 117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2" y="441"/>
                      <a:pt x="117" y="441"/>
                    </a:cubicBezTo>
                    <a:cubicBezTo>
                      <a:pt x="156" y="441"/>
                      <a:pt x="206" y="424"/>
                      <a:pt x="206" y="371"/>
                    </a:cubicBezTo>
                    <a:cubicBezTo>
                      <a:pt x="206" y="281"/>
                      <a:pt x="0" y="289"/>
                      <a:pt x="0" y="151"/>
                    </a:cubicBezTo>
                    <a:cubicBezTo>
                      <a:pt x="0" y="49"/>
                      <a:pt x="74" y="0"/>
                      <a:pt x="168" y="0"/>
                    </a:cubicBezTo>
                    <a:cubicBezTo>
                      <a:pt x="209"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6" name="Freeform 65"/>
              <p:cNvSpPr>
                <a:spLocks/>
              </p:cNvSpPr>
              <p:nvPr/>
            </p:nvSpPr>
            <p:spPr bwMode="gray">
              <a:xfrm>
                <a:off x="8972550" y="1728788"/>
                <a:ext cx="117475" cy="138113"/>
              </a:xfrm>
              <a:custGeom>
                <a:avLst/>
                <a:gdLst>
                  <a:gd name="T0" fmla="*/ 420 w 420"/>
                  <a:gd name="T1" fmla="*/ 492 h 503"/>
                  <a:gd name="T2" fmla="*/ 420 w 420"/>
                  <a:gd name="T3" fmla="*/ 492 h 503"/>
                  <a:gd name="T4" fmla="*/ 335 w 420"/>
                  <a:gd name="T5" fmla="*/ 492 h 503"/>
                  <a:gd name="T6" fmla="*/ 335 w 420"/>
                  <a:gd name="T7" fmla="*/ 414 h 503"/>
                  <a:gd name="T8" fmla="*/ 333 w 420"/>
                  <a:gd name="T9" fmla="*/ 414 h 503"/>
                  <a:gd name="T10" fmla="*/ 178 w 420"/>
                  <a:gd name="T11" fmla="*/ 503 h 503"/>
                  <a:gd name="T12" fmla="*/ 0 w 420"/>
                  <a:gd name="T13" fmla="*/ 292 h 503"/>
                  <a:gd name="T14" fmla="*/ 0 w 420"/>
                  <a:gd name="T15" fmla="*/ 0 h 503"/>
                  <a:gd name="T16" fmla="*/ 88 w 420"/>
                  <a:gd name="T17" fmla="*/ 0 h 503"/>
                  <a:gd name="T18" fmla="*/ 88 w 420"/>
                  <a:gd name="T19" fmla="*/ 255 h 503"/>
                  <a:gd name="T20" fmla="*/ 188 w 420"/>
                  <a:gd name="T21" fmla="*/ 430 h 503"/>
                  <a:gd name="T22" fmla="*/ 332 w 420"/>
                  <a:gd name="T23" fmla="*/ 228 h 503"/>
                  <a:gd name="T24" fmla="*/ 332 w 420"/>
                  <a:gd name="T25" fmla="*/ 0 h 503"/>
                  <a:gd name="T26" fmla="*/ 420 w 420"/>
                  <a:gd name="T27" fmla="*/ 0 h 503"/>
                  <a:gd name="T28" fmla="*/ 420 w 420"/>
                  <a:gd name="T29" fmla="*/ 49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03">
                    <a:moveTo>
                      <a:pt x="420" y="492"/>
                    </a:moveTo>
                    <a:lnTo>
                      <a:pt x="420" y="492"/>
                    </a:lnTo>
                    <a:lnTo>
                      <a:pt x="335" y="492"/>
                    </a:lnTo>
                    <a:lnTo>
                      <a:pt x="335" y="414"/>
                    </a:lnTo>
                    <a:lnTo>
                      <a:pt x="333" y="414"/>
                    </a:lnTo>
                    <a:cubicBezTo>
                      <a:pt x="307" y="469"/>
                      <a:pt x="244" y="503"/>
                      <a:pt x="178" y="503"/>
                    </a:cubicBezTo>
                    <a:cubicBezTo>
                      <a:pt x="55" y="503"/>
                      <a:pt x="0" y="424"/>
                      <a:pt x="0" y="292"/>
                    </a:cubicBezTo>
                    <a:lnTo>
                      <a:pt x="0" y="0"/>
                    </a:lnTo>
                    <a:lnTo>
                      <a:pt x="88" y="0"/>
                    </a:lnTo>
                    <a:lnTo>
                      <a:pt x="88" y="255"/>
                    </a:lnTo>
                    <a:cubicBezTo>
                      <a:pt x="88" y="369"/>
                      <a:pt x="112" y="425"/>
                      <a:pt x="188" y="430"/>
                    </a:cubicBezTo>
                    <a:cubicBezTo>
                      <a:pt x="288" y="430"/>
                      <a:pt x="332" y="347"/>
                      <a:pt x="332" y="228"/>
                    </a:cubicBezTo>
                    <a:lnTo>
                      <a:pt x="332" y="0"/>
                    </a:lnTo>
                    <a:lnTo>
                      <a:pt x="420" y="0"/>
                    </a:lnTo>
                    <a:lnTo>
                      <a:pt x="420" y="49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7" name="Freeform 66"/>
              <p:cNvSpPr>
                <a:spLocks/>
              </p:cNvSpPr>
              <p:nvPr/>
            </p:nvSpPr>
            <p:spPr bwMode="gray">
              <a:xfrm>
                <a:off x="9137650"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7 w 265"/>
                  <a:gd name="T11" fmla="*/ 0 h 503"/>
                  <a:gd name="T12" fmla="*/ 265 w 265"/>
                  <a:gd name="T13" fmla="*/ 7 h 503"/>
                  <a:gd name="T14" fmla="*/ 265 w 265"/>
                  <a:gd name="T15" fmla="*/ 87 h 503"/>
                  <a:gd name="T16" fmla="*/ 217 w 265"/>
                  <a:gd name="T17" fmla="*/ 79 h 503"/>
                  <a:gd name="T18" fmla="*/ 87 w 265"/>
                  <a:gd name="T19" fmla="*/ 279 h 503"/>
                  <a:gd name="T20" fmla="*/ 87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7" y="0"/>
                    </a:cubicBezTo>
                    <a:cubicBezTo>
                      <a:pt x="234" y="0"/>
                      <a:pt x="247" y="3"/>
                      <a:pt x="265" y="7"/>
                    </a:cubicBezTo>
                    <a:lnTo>
                      <a:pt x="265" y="87"/>
                    </a:lnTo>
                    <a:cubicBezTo>
                      <a:pt x="249" y="81"/>
                      <a:pt x="231" y="79"/>
                      <a:pt x="217" y="79"/>
                    </a:cubicBezTo>
                    <a:cubicBezTo>
                      <a:pt x="139" y="79"/>
                      <a:pt x="87" y="156"/>
                      <a:pt x="87" y="279"/>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8" name="Freeform 67"/>
              <p:cNvSpPr>
                <a:spLocks noEditPoints="1"/>
              </p:cNvSpPr>
              <p:nvPr/>
            </p:nvSpPr>
            <p:spPr bwMode="gray">
              <a:xfrm>
                <a:off x="9236075" y="1725613"/>
                <a:ext cx="111125" cy="141288"/>
              </a:xfrm>
              <a:custGeom>
                <a:avLst/>
                <a:gdLst>
                  <a:gd name="T0" fmla="*/ 314 w 405"/>
                  <a:gd name="T1" fmla="*/ 269 h 514"/>
                  <a:gd name="T2" fmla="*/ 314 w 405"/>
                  <a:gd name="T3" fmla="*/ 269 h 514"/>
                  <a:gd name="T4" fmla="*/ 258 w 405"/>
                  <a:gd name="T5" fmla="*/ 267 h 514"/>
                  <a:gd name="T6" fmla="*/ 94 w 405"/>
                  <a:gd name="T7" fmla="*/ 361 h 514"/>
                  <a:gd name="T8" fmla="*/ 182 w 405"/>
                  <a:gd name="T9" fmla="*/ 441 h 514"/>
                  <a:gd name="T10" fmla="*/ 314 w 405"/>
                  <a:gd name="T11" fmla="*/ 312 h 514"/>
                  <a:gd name="T12" fmla="*/ 314 w 405"/>
                  <a:gd name="T13" fmla="*/ 269 h 514"/>
                  <a:gd name="T14" fmla="*/ 314 w 405"/>
                  <a:gd name="T15" fmla="*/ 269 h 514"/>
                  <a:gd name="T16" fmla="*/ 54 w 405"/>
                  <a:gd name="T17" fmla="*/ 46 h 514"/>
                  <a:gd name="T18" fmla="*/ 54 w 405"/>
                  <a:gd name="T19" fmla="*/ 46 h 514"/>
                  <a:gd name="T20" fmla="*/ 211 w 405"/>
                  <a:gd name="T21" fmla="*/ 0 h 514"/>
                  <a:gd name="T22" fmla="*/ 401 w 405"/>
                  <a:gd name="T23" fmla="*/ 203 h 514"/>
                  <a:gd name="T24" fmla="*/ 401 w 405"/>
                  <a:gd name="T25" fmla="*/ 406 h 514"/>
                  <a:gd name="T26" fmla="*/ 405 w 405"/>
                  <a:gd name="T27" fmla="*/ 503 h 514"/>
                  <a:gd name="T28" fmla="*/ 323 w 405"/>
                  <a:gd name="T29" fmla="*/ 503 h 514"/>
                  <a:gd name="T30" fmla="*/ 323 w 405"/>
                  <a:gd name="T31" fmla="*/ 439 h 514"/>
                  <a:gd name="T32" fmla="*/ 321 w 405"/>
                  <a:gd name="T33" fmla="*/ 439 h 514"/>
                  <a:gd name="T34" fmla="*/ 174 w 405"/>
                  <a:gd name="T35" fmla="*/ 514 h 514"/>
                  <a:gd name="T36" fmla="*/ 0 w 405"/>
                  <a:gd name="T37" fmla="*/ 361 h 514"/>
                  <a:gd name="T38" fmla="*/ 221 w 405"/>
                  <a:gd name="T39" fmla="*/ 199 h 514"/>
                  <a:gd name="T40" fmla="*/ 314 w 405"/>
                  <a:gd name="T41" fmla="*/ 201 h 514"/>
                  <a:gd name="T42" fmla="*/ 197 w 405"/>
                  <a:gd name="T43" fmla="*/ 73 h 514"/>
                  <a:gd name="T44" fmla="*/ 59 w 405"/>
                  <a:gd name="T45" fmla="*/ 123 h 514"/>
                  <a:gd name="T46" fmla="*/ 54 w 405"/>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5" h="514">
                    <a:moveTo>
                      <a:pt x="314" y="269"/>
                    </a:moveTo>
                    <a:lnTo>
                      <a:pt x="314" y="269"/>
                    </a:lnTo>
                    <a:cubicBezTo>
                      <a:pt x="295" y="269"/>
                      <a:pt x="277" y="267"/>
                      <a:pt x="258" y="267"/>
                    </a:cubicBezTo>
                    <a:cubicBezTo>
                      <a:pt x="211" y="267"/>
                      <a:pt x="94" y="275"/>
                      <a:pt x="94" y="361"/>
                    </a:cubicBezTo>
                    <a:cubicBezTo>
                      <a:pt x="94" y="413"/>
                      <a:pt x="142" y="441"/>
                      <a:pt x="182" y="441"/>
                    </a:cubicBezTo>
                    <a:cubicBezTo>
                      <a:pt x="268" y="441"/>
                      <a:pt x="314" y="385"/>
                      <a:pt x="314" y="312"/>
                    </a:cubicBezTo>
                    <a:lnTo>
                      <a:pt x="314" y="269"/>
                    </a:lnTo>
                    <a:lnTo>
                      <a:pt x="314" y="269"/>
                    </a:lnTo>
                    <a:close/>
                    <a:moveTo>
                      <a:pt x="54" y="46"/>
                    </a:moveTo>
                    <a:lnTo>
                      <a:pt x="54" y="46"/>
                    </a:lnTo>
                    <a:cubicBezTo>
                      <a:pt x="98" y="19"/>
                      <a:pt x="150" y="0"/>
                      <a:pt x="211" y="0"/>
                    </a:cubicBezTo>
                    <a:cubicBezTo>
                      <a:pt x="346" y="0"/>
                      <a:pt x="401" y="69"/>
                      <a:pt x="401" y="203"/>
                    </a:cubicBezTo>
                    <a:lnTo>
                      <a:pt x="401" y="406"/>
                    </a:lnTo>
                    <a:cubicBezTo>
                      <a:pt x="401" y="462"/>
                      <a:pt x="403" y="488"/>
                      <a:pt x="405" y="503"/>
                    </a:cubicBezTo>
                    <a:lnTo>
                      <a:pt x="323" y="503"/>
                    </a:lnTo>
                    <a:lnTo>
                      <a:pt x="323" y="439"/>
                    </a:lnTo>
                    <a:lnTo>
                      <a:pt x="321" y="439"/>
                    </a:lnTo>
                    <a:cubicBezTo>
                      <a:pt x="301" y="469"/>
                      <a:pt x="255" y="514"/>
                      <a:pt x="174" y="514"/>
                    </a:cubicBezTo>
                    <a:cubicBezTo>
                      <a:pt x="72" y="514"/>
                      <a:pt x="0" y="468"/>
                      <a:pt x="0" y="361"/>
                    </a:cubicBezTo>
                    <a:cubicBezTo>
                      <a:pt x="0" y="238"/>
                      <a:pt x="131" y="199"/>
                      <a:pt x="221" y="199"/>
                    </a:cubicBezTo>
                    <a:cubicBezTo>
                      <a:pt x="255" y="199"/>
                      <a:pt x="280" y="199"/>
                      <a:pt x="314" y="201"/>
                    </a:cubicBezTo>
                    <a:cubicBezTo>
                      <a:pt x="314" y="116"/>
                      <a:pt x="284" y="73"/>
                      <a:pt x="197" y="73"/>
                    </a:cubicBezTo>
                    <a:cubicBezTo>
                      <a:pt x="147" y="73"/>
                      <a:pt x="94" y="92"/>
                      <a:pt x="59"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69" name="Freeform 68"/>
              <p:cNvSpPr>
                <a:spLocks/>
              </p:cNvSpPr>
              <p:nvPr/>
            </p:nvSpPr>
            <p:spPr bwMode="gray">
              <a:xfrm>
                <a:off x="9394825"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2" y="34"/>
                      <a:pt x="175" y="0"/>
                      <a:pt x="242" y="0"/>
                    </a:cubicBezTo>
                    <a:cubicBezTo>
                      <a:pt x="364" y="0"/>
                      <a:pt x="419" y="79"/>
                      <a:pt x="419" y="211"/>
                    </a:cubicBezTo>
                    <a:lnTo>
                      <a:pt x="419" y="503"/>
                    </a:lnTo>
                    <a:lnTo>
                      <a:pt x="332" y="503"/>
                    </a:lnTo>
                    <a:lnTo>
                      <a:pt x="332" y="249"/>
                    </a:lnTo>
                    <a:cubicBezTo>
                      <a:pt x="332" y="134"/>
                      <a:pt x="307"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0" name="Freeform 69"/>
              <p:cNvSpPr>
                <a:spLocks/>
              </p:cNvSpPr>
              <p:nvPr/>
            </p:nvSpPr>
            <p:spPr bwMode="gray">
              <a:xfrm>
                <a:off x="9547225" y="1725613"/>
                <a:ext cx="98425" cy="141288"/>
              </a:xfrm>
              <a:custGeom>
                <a:avLst/>
                <a:gdLst>
                  <a:gd name="T0" fmla="*/ 340 w 352"/>
                  <a:gd name="T1" fmla="*/ 94 h 514"/>
                  <a:gd name="T2" fmla="*/ 340 w 352"/>
                  <a:gd name="T3" fmla="*/ 94 h 514"/>
                  <a:gd name="T4" fmla="*/ 246 w 352"/>
                  <a:gd name="T5" fmla="*/ 73 h 514"/>
                  <a:gd name="T6" fmla="*/ 93 w 352"/>
                  <a:gd name="T7" fmla="*/ 257 h 514"/>
                  <a:gd name="T8" fmla="*/ 251 w 352"/>
                  <a:gd name="T9" fmla="*/ 441 h 514"/>
                  <a:gd name="T10" fmla="*/ 345 w 352"/>
                  <a:gd name="T11" fmla="*/ 413 h 514"/>
                  <a:gd name="T12" fmla="*/ 352 w 352"/>
                  <a:gd name="T13" fmla="*/ 494 h 514"/>
                  <a:gd name="T14" fmla="*/ 242 w 352"/>
                  <a:gd name="T15" fmla="*/ 514 h 514"/>
                  <a:gd name="T16" fmla="*/ 0 w 352"/>
                  <a:gd name="T17" fmla="*/ 257 h 514"/>
                  <a:gd name="T18" fmla="*/ 242 w 352"/>
                  <a:gd name="T19" fmla="*/ 0 h 514"/>
                  <a:gd name="T20" fmla="*/ 348 w 352"/>
                  <a:gd name="T21" fmla="*/ 19 h 514"/>
                  <a:gd name="T22" fmla="*/ 340 w 352"/>
                  <a:gd name="T23" fmla="*/ 9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514">
                    <a:moveTo>
                      <a:pt x="340" y="94"/>
                    </a:moveTo>
                    <a:lnTo>
                      <a:pt x="340" y="94"/>
                    </a:lnTo>
                    <a:cubicBezTo>
                      <a:pt x="307" y="80"/>
                      <a:pt x="274" y="73"/>
                      <a:pt x="246" y="73"/>
                    </a:cubicBezTo>
                    <a:cubicBezTo>
                      <a:pt x="148" y="73"/>
                      <a:pt x="93" y="164"/>
                      <a:pt x="93" y="257"/>
                    </a:cubicBezTo>
                    <a:cubicBezTo>
                      <a:pt x="93" y="345"/>
                      <a:pt x="139" y="441"/>
                      <a:pt x="251" y="441"/>
                    </a:cubicBezTo>
                    <a:cubicBezTo>
                      <a:pt x="281" y="441"/>
                      <a:pt x="318" y="431"/>
                      <a:pt x="345" y="413"/>
                    </a:cubicBezTo>
                    <a:lnTo>
                      <a:pt x="352" y="494"/>
                    </a:lnTo>
                    <a:cubicBezTo>
                      <a:pt x="315" y="511"/>
                      <a:pt x="274" y="514"/>
                      <a:pt x="242" y="514"/>
                    </a:cubicBezTo>
                    <a:cubicBezTo>
                      <a:pt x="99" y="514"/>
                      <a:pt x="0" y="397"/>
                      <a:pt x="0" y="257"/>
                    </a:cubicBezTo>
                    <a:cubicBezTo>
                      <a:pt x="0" y="108"/>
                      <a:pt x="97" y="0"/>
                      <a:pt x="242" y="0"/>
                    </a:cubicBezTo>
                    <a:cubicBezTo>
                      <a:pt x="277" y="0"/>
                      <a:pt x="323" y="8"/>
                      <a:pt x="348" y="19"/>
                    </a:cubicBezTo>
                    <a:lnTo>
                      <a:pt x="340" y="94"/>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1" name="Freeform 70"/>
              <p:cNvSpPr>
                <a:spLocks noEditPoints="1"/>
              </p:cNvSpPr>
              <p:nvPr/>
            </p:nvSpPr>
            <p:spPr bwMode="gray">
              <a:xfrm>
                <a:off x="9671050" y="1725613"/>
                <a:ext cx="119063" cy="141288"/>
              </a:xfrm>
              <a:custGeom>
                <a:avLst/>
                <a:gdLst>
                  <a:gd name="T0" fmla="*/ 338 w 431"/>
                  <a:gd name="T1" fmla="*/ 210 h 514"/>
                  <a:gd name="T2" fmla="*/ 338 w 431"/>
                  <a:gd name="T3" fmla="*/ 210 h 514"/>
                  <a:gd name="T4" fmla="*/ 220 w 431"/>
                  <a:gd name="T5" fmla="*/ 73 h 514"/>
                  <a:gd name="T6" fmla="*/ 93 w 431"/>
                  <a:gd name="T7" fmla="*/ 210 h 514"/>
                  <a:gd name="T8" fmla="*/ 338 w 431"/>
                  <a:gd name="T9" fmla="*/ 210 h 514"/>
                  <a:gd name="T10" fmla="*/ 338 w 431"/>
                  <a:gd name="T11" fmla="*/ 210 h 514"/>
                  <a:gd name="T12" fmla="*/ 395 w 431"/>
                  <a:gd name="T13" fmla="*/ 482 h 514"/>
                  <a:gd name="T14" fmla="*/ 395 w 431"/>
                  <a:gd name="T15" fmla="*/ 482 h 514"/>
                  <a:gd name="T16" fmla="*/ 245 w 431"/>
                  <a:gd name="T17" fmla="*/ 514 h 514"/>
                  <a:gd name="T18" fmla="*/ 0 w 431"/>
                  <a:gd name="T19" fmla="*/ 249 h 514"/>
                  <a:gd name="T20" fmla="*/ 222 w 431"/>
                  <a:gd name="T21" fmla="*/ 0 h 514"/>
                  <a:gd name="T22" fmla="*/ 431 w 431"/>
                  <a:gd name="T23" fmla="*/ 277 h 514"/>
                  <a:gd name="T24" fmla="*/ 93 w 431"/>
                  <a:gd name="T25" fmla="*/ 277 h 514"/>
                  <a:gd name="T26" fmla="*/ 249 w 431"/>
                  <a:gd name="T27" fmla="*/ 441 h 514"/>
                  <a:gd name="T28" fmla="*/ 395 w 431"/>
                  <a:gd name="T29" fmla="*/ 392 h 514"/>
                  <a:gd name="T30" fmla="*/ 395 w 431"/>
                  <a:gd name="T31" fmla="*/ 48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514">
                    <a:moveTo>
                      <a:pt x="338" y="210"/>
                    </a:moveTo>
                    <a:lnTo>
                      <a:pt x="338" y="210"/>
                    </a:lnTo>
                    <a:cubicBezTo>
                      <a:pt x="338" y="135"/>
                      <a:pt x="296" y="73"/>
                      <a:pt x="220" y="73"/>
                    </a:cubicBezTo>
                    <a:cubicBezTo>
                      <a:pt x="135" y="73"/>
                      <a:pt x="99" y="146"/>
                      <a:pt x="93" y="210"/>
                    </a:cubicBezTo>
                    <a:lnTo>
                      <a:pt x="338" y="210"/>
                    </a:lnTo>
                    <a:lnTo>
                      <a:pt x="338" y="210"/>
                    </a:lnTo>
                    <a:close/>
                    <a:moveTo>
                      <a:pt x="395" y="482"/>
                    </a:moveTo>
                    <a:lnTo>
                      <a:pt x="395" y="482"/>
                    </a:lnTo>
                    <a:cubicBezTo>
                      <a:pt x="362" y="495"/>
                      <a:pt x="324" y="514"/>
                      <a:pt x="245" y="514"/>
                    </a:cubicBezTo>
                    <a:cubicBezTo>
                      <a:pt x="77" y="514"/>
                      <a:pt x="0" y="408"/>
                      <a:pt x="0" y="249"/>
                    </a:cubicBezTo>
                    <a:cubicBezTo>
                      <a:pt x="0" y="103"/>
                      <a:pt x="88" y="0"/>
                      <a:pt x="222" y="0"/>
                    </a:cubicBezTo>
                    <a:cubicBezTo>
                      <a:pt x="380" y="0"/>
                      <a:pt x="431" y="119"/>
                      <a:pt x="431" y="277"/>
                    </a:cubicBezTo>
                    <a:lnTo>
                      <a:pt x="93" y="277"/>
                    </a:lnTo>
                    <a:cubicBezTo>
                      <a:pt x="93" y="375"/>
                      <a:pt x="166" y="441"/>
                      <a:pt x="249" y="441"/>
                    </a:cubicBezTo>
                    <a:cubicBezTo>
                      <a:pt x="307" y="441"/>
                      <a:pt x="374" y="410"/>
                      <a:pt x="395" y="392"/>
                    </a:cubicBezTo>
                    <a:lnTo>
                      <a:pt x="395"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2" name="Freeform 71"/>
              <p:cNvSpPr>
                <a:spLocks/>
              </p:cNvSpPr>
              <p:nvPr/>
            </p:nvSpPr>
            <p:spPr bwMode="gray">
              <a:xfrm>
                <a:off x="9242425" y="1031876"/>
                <a:ext cx="287338" cy="47942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3" name="Freeform 72"/>
              <p:cNvSpPr>
                <a:spLocks/>
              </p:cNvSpPr>
              <p:nvPr/>
            </p:nvSpPr>
            <p:spPr bwMode="gray">
              <a:xfrm>
                <a:off x="8255000" y="1031876"/>
                <a:ext cx="592138" cy="47942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4" name="Freeform 28"/>
              <p:cNvSpPr>
                <a:spLocks/>
              </p:cNvSpPr>
              <p:nvPr/>
            </p:nvSpPr>
            <p:spPr bwMode="gray">
              <a:xfrm>
                <a:off x="9478963" y="995363"/>
                <a:ext cx="725488" cy="539750"/>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5" name="Freeform 29"/>
              <p:cNvSpPr>
                <a:spLocks/>
              </p:cNvSpPr>
              <p:nvPr/>
            </p:nvSpPr>
            <p:spPr bwMode="gray">
              <a:xfrm>
                <a:off x="7877175" y="746126"/>
                <a:ext cx="403225" cy="550863"/>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6" name="Freeform 30"/>
              <p:cNvSpPr>
                <a:spLocks/>
              </p:cNvSpPr>
              <p:nvPr/>
            </p:nvSpPr>
            <p:spPr bwMode="gray">
              <a:xfrm>
                <a:off x="7699375" y="515938"/>
                <a:ext cx="731838" cy="4905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7" name="Freeform 31"/>
              <p:cNvSpPr>
                <a:spLocks/>
              </p:cNvSpPr>
              <p:nvPr/>
            </p:nvSpPr>
            <p:spPr bwMode="gray">
              <a:xfrm>
                <a:off x="7821613" y="1039813"/>
                <a:ext cx="598488" cy="473075"/>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8" name="Freeform 32"/>
              <p:cNvSpPr>
                <a:spLocks noEditPoints="1"/>
              </p:cNvSpPr>
              <p:nvPr/>
            </p:nvSpPr>
            <p:spPr bwMode="gray">
              <a:xfrm>
                <a:off x="6391275" y="1009651"/>
                <a:ext cx="1457325" cy="520700"/>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
            <p:nvSpPr>
              <p:cNvPr id="79" name="Freeform 33"/>
              <p:cNvSpPr>
                <a:spLocks noEditPoints="1"/>
              </p:cNvSpPr>
              <p:nvPr/>
            </p:nvSpPr>
            <p:spPr bwMode="gray">
              <a:xfrm>
                <a:off x="8720138" y="1030288"/>
                <a:ext cx="620713" cy="481013"/>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3429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grpSp>
        <p:sp>
          <p:nvSpPr>
            <p:cNvPr id="49" name="TextBox 37"/>
            <p:cNvSpPr txBox="1"/>
            <p:nvPr/>
          </p:nvSpPr>
          <p:spPr bwMode="gray">
            <a:xfrm>
              <a:off x="3187895" y="3833979"/>
              <a:ext cx="5816209" cy="630494"/>
            </a:xfrm>
            <a:prstGeom prst="rect">
              <a:avLst/>
            </a:prstGeom>
            <a:noFill/>
          </p:spPr>
          <p:txBody>
            <a:bodyPr wrap="square" lIns="0" tIns="0" rIns="0" bIns="0">
              <a:spAutoFit/>
            </a:bodyPr>
            <a:lstStyle/>
            <a:p>
              <a:pPr marL="0" marR="0" lvl="0" indent="0" algn="ctr" defTabSz="685800" rtl="0" eaLnBrk="1" fontAlgn="auto" latinLnBrk="0" hangingPunct="1">
                <a:lnSpc>
                  <a:spcPct val="100000"/>
                </a:lnSpc>
                <a:spcBef>
                  <a:spcPct val="20000"/>
                </a:spcBef>
                <a:spcAft>
                  <a:spcPts val="0"/>
                </a:spcAft>
                <a:buClrTx/>
                <a:buSzTx/>
                <a:buFont typeface="Arial" pitchFamily="34" charset="0"/>
                <a:buNone/>
                <a:tabLst/>
                <a:defRPr/>
              </a:pPr>
              <a:r>
                <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rPr>
                <a:t>COPYRIGHT © </a:t>
              </a:r>
              <a:r>
                <a:rPr kumimoji="0" lang="en-US" sz="788" b="0" i="0" u="none" strike="noStrike" kern="1200" cap="none" spc="0" normalizeH="0" baseline="0" noProof="0" dirty="0" smtClean="0">
                  <a:ln>
                    <a:noFill/>
                  </a:ln>
                  <a:solidFill>
                    <a:prstClr val="white"/>
                  </a:solidFill>
                  <a:effectLst/>
                  <a:uLnTx/>
                  <a:uFillTx/>
                  <a:latin typeface="Calibri"/>
                  <a:ea typeface="MS PGothic" pitchFamily="34" charset="-128"/>
                  <a:cs typeface="+mn-cs"/>
                </a:rPr>
                <a:t>2016. </a:t>
              </a:r>
              <a:r>
                <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rPr>
                <a:t>ALL RIGHTS PROTECTED AND RESERVED.</a:t>
              </a:r>
            </a:p>
            <a:p>
              <a:pPr marL="0" marR="0" lvl="0" indent="0" algn="ctr" defTabSz="685800" rtl="0" eaLnBrk="1" fontAlgn="auto" latinLnBrk="0" hangingPunct="1">
                <a:lnSpc>
                  <a:spcPct val="100000"/>
                </a:lnSpc>
                <a:spcBef>
                  <a:spcPct val="20000"/>
                </a:spcBef>
                <a:spcAft>
                  <a:spcPts val="0"/>
                </a:spcAft>
                <a:buClrTx/>
                <a:buSzTx/>
                <a:buFont typeface="Arial" pitchFamily="34" charset="0"/>
                <a:buNone/>
                <a:tabLst/>
                <a:defRPr/>
              </a:pPr>
              <a:r>
                <a:rPr kumimoji="0" lang="en-US" sz="788" b="0" i="0" u="none" strike="noStrike" kern="1200" cap="none" spc="0" normalizeH="0" baseline="0" noProof="0" dirty="0" smtClean="0">
                  <a:ln>
                    <a:noFill/>
                  </a:ln>
                  <a:solidFill>
                    <a:prstClr val="white"/>
                  </a:solidFill>
                  <a:effectLst/>
                  <a:uLnTx/>
                  <a:uFillTx/>
                  <a:latin typeface="Calibri"/>
                  <a:ea typeface="MS PGothic" pitchFamily="34" charset="-128"/>
                  <a:cs typeface="+mn-cs"/>
                </a:rPr>
                <a:t>The </a:t>
              </a:r>
              <a:r>
                <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rPr>
                <a:t>information contained in this document, much of which is confidential to </a:t>
              </a:r>
              <a:r>
                <a:rPr kumimoji="0" lang="en-US" sz="788" b="0" i="0" u="none" strike="noStrike" kern="1200" cap="none" spc="0" normalizeH="0" baseline="0" noProof="0" dirty="0" smtClean="0">
                  <a:ln>
                    <a:noFill/>
                  </a:ln>
                  <a:solidFill>
                    <a:prstClr val="white"/>
                  </a:solidFill>
                  <a:effectLst/>
                  <a:uLnTx/>
                  <a:uFillTx/>
                  <a:latin typeface="Calibri"/>
                  <a:ea typeface="MS PGothic" pitchFamily="34" charset="-128"/>
                  <a:cs typeface="+mn-cs"/>
                </a:rPr>
                <a:t>Maveric Systems, </a:t>
              </a:r>
              <a:r>
                <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rPr>
                <a:t>is for the sole use of the intended recipients. No part of this document may be reproduced in any form or by any means, electronic, mechanical, photocopying, recording, or otherwise, without the prior written permission of </a:t>
              </a:r>
              <a:r>
                <a:rPr kumimoji="0" lang="en-US" sz="788" b="0" i="0" u="none" strike="noStrike" kern="1200" cap="none" spc="0" normalizeH="0" baseline="0" noProof="0" dirty="0" smtClean="0">
                  <a:ln>
                    <a:noFill/>
                  </a:ln>
                  <a:solidFill>
                    <a:prstClr val="white"/>
                  </a:solidFill>
                  <a:effectLst/>
                  <a:uLnTx/>
                  <a:uFillTx/>
                  <a:latin typeface="Calibri"/>
                  <a:ea typeface="MS PGothic" pitchFamily="34" charset="-128"/>
                  <a:cs typeface="+mn-cs"/>
                </a:rPr>
                <a:t>Maveric Systems.</a:t>
              </a:r>
              <a:endParaRPr kumimoji="0" lang="en-US" sz="788" b="0" i="0" u="none" strike="noStrike" kern="1200" cap="none" spc="0" normalizeH="0" baseline="0" noProof="0" dirty="0">
                <a:ln>
                  <a:noFill/>
                </a:ln>
                <a:solidFill>
                  <a:prstClr val="white"/>
                </a:solidFill>
                <a:effectLst/>
                <a:uLnTx/>
                <a:uFillTx/>
                <a:latin typeface="Calibri"/>
                <a:ea typeface="MS PGothic" pitchFamily="34" charset="-128"/>
                <a:cs typeface="+mn-cs"/>
              </a:endParaRPr>
            </a:p>
          </p:txBody>
        </p:sp>
        <p:sp>
          <p:nvSpPr>
            <p:cNvPr id="50" name="TextBox 49"/>
            <p:cNvSpPr txBox="1"/>
            <p:nvPr/>
          </p:nvSpPr>
          <p:spPr bwMode="gray">
            <a:xfrm>
              <a:off x="4272850" y="1929630"/>
              <a:ext cx="3646298" cy="1687641"/>
            </a:xfrm>
            <a:prstGeom prst="rect">
              <a:avLst/>
            </a:prstGeom>
            <a:noFill/>
          </p:spPr>
          <p:txBody>
            <a:bodyPr wrap="none" lIns="0" tIns="0" rIns="0" bIns="0" anchor="b" anchorCtr="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007BA2"/>
                  </a:solidFill>
                  <a:effectLst/>
                  <a:uLnTx/>
                  <a:uFillTx/>
                  <a:latin typeface="Calibri"/>
                  <a:ea typeface="MS PGothic" pitchFamily="34" charset="-128"/>
                  <a:cs typeface="Arial" panose="020B0604020202020204" pitchFamily="34" charset="0"/>
                </a:rPr>
                <a:t>Corporate </a:t>
              </a:r>
              <a:r>
                <a:rPr kumimoji="0" lang="en-US" sz="900" b="0" i="0" u="none" strike="noStrike" kern="1200" cap="none" spc="0" normalizeH="0" baseline="0" noProof="0" dirty="0">
                  <a:ln>
                    <a:noFill/>
                  </a:ln>
                  <a:solidFill>
                    <a:srgbClr val="007BA2"/>
                  </a:solidFill>
                  <a:effectLst/>
                  <a:uLnTx/>
                  <a:uFillTx/>
                  <a:latin typeface="Calibri"/>
                  <a:ea typeface="MS PGothic" pitchFamily="34" charset="-128"/>
                  <a:cs typeface="Arial" panose="020B0604020202020204" pitchFamily="34" charset="0"/>
                </a:rPr>
                <a:t>Headquarters</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Lords Tower, Block 1,</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2</a:t>
              </a:r>
              <a:r>
                <a:rPr kumimoji="0" lang="en-US" sz="900" b="0" i="0" u="none" strike="noStrike" kern="1200" cap="none" spc="0" normalizeH="0" baseline="3000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nd</a:t>
              </a: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 Floor, Plot No. 1&amp;2 NP,</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Jawaharlal Nehru Road,</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Thiru Vi Ka Industrial Estate</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rPr>
                <a:t>Ekkaduthangal, Chennai – 600 032</a:t>
              </a: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endPar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hlinkClick r:id=""/>
              </a:endParaRP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hlinkClick r:id=""/>
                </a:rPr>
                <a:t>www.maveric-systems.com</a:t>
              </a:r>
              <a:endParaRPr kumimoji="0" lang="en-US"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endParaRPr kumimoji="0" lang="tr-TR" sz="900" b="0" i="0" u="none" strike="noStrike" kern="1200" cap="none" spc="0" normalizeH="0" baseline="0" noProof="0" dirty="0" smtClean="0">
                <a:ln>
                  <a:noFill/>
                </a:ln>
                <a:solidFill>
                  <a:prstClr val="black">
                    <a:lumMod val="65000"/>
                    <a:lumOff val="35000"/>
                  </a:prstClr>
                </a:solidFill>
                <a:effectLst/>
                <a:uLnTx/>
                <a:uFillTx/>
                <a:latin typeface="Calibri"/>
                <a:ea typeface="MS PGothic" pitchFamily="34" charset="-128"/>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endParaRPr kumimoji="0" lang="tr-TR" sz="900" b="0" i="0" u="none" strike="noStrike" kern="1200" cap="none" spc="0" normalizeH="0" baseline="0" noProof="0" dirty="0">
                <a:ln>
                  <a:noFill/>
                </a:ln>
                <a:solidFill>
                  <a:prstClr val="black">
                    <a:lumMod val="65000"/>
                    <a:lumOff val="35000"/>
                  </a:prstClr>
                </a:solidFill>
                <a:effectLst/>
                <a:uLnTx/>
                <a:uFillTx/>
                <a:latin typeface="Calibri"/>
                <a:ea typeface="MS PGothic" pitchFamily="34" charset="-128"/>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tab pos="342900" algn="l"/>
                </a:tabLst>
                <a:defRPr/>
              </a:pPr>
              <a:r>
                <a:rPr kumimoji="0" lang="tr-TR" sz="900" b="0" i="0" u="none" strike="noStrike" kern="1200" cap="none" spc="0" normalizeH="0" baseline="0" noProof="0" dirty="0" smtClean="0">
                  <a:ln>
                    <a:noFill/>
                  </a:ln>
                  <a:solidFill>
                    <a:srgbClr val="007BA2"/>
                  </a:solidFill>
                  <a:effectLst/>
                  <a:uLnTx/>
                  <a:uFillTx/>
                  <a:latin typeface="Calibri"/>
                  <a:ea typeface="MS PGothic" pitchFamily="34" charset="-128"/>
                  <a:cs typeface="Arial" panose="020B0604020202020204" pitchFamily="34" charset="0"/>
                </a:rPr>
                <a:t>Global </a:t>
              </a:r>
              <a:r>
                <a:rPr kumimoji="0" lang="tr-TR" sz="900" b="0" i="0" u="none" strike="noStrike" kern="1200" cap="none" spc="0" normalizeH="0" baseline="0" noProof="0" dirty="0">
                  <a:ln>
                    <a:noFill/>
                  </a:ln>
                  <a:solidFill>
                    <a:srgbClr val="007BA2"/>
                  </a:solidFill>
                  <a:effectLst/>
                  <a:uLnTx/>
                  <a:uFillTx/>
                  <a:latin typeface="Calibri"/>
                  <a:ea typeface="MS PGothic" pitchFamily="34" charset="-128"/>
                  <a:cs typeface="Arial" panose="020B0604020202020204" pitchFamily="34" charset="0"/>
                </a:rPr>
                <a:t>Locations</a:t>
              </a:r>
            </a:p>
            <a:p>
              <a:pPr marL="0" marR="0" lvl="0" indent="0" algn="ctr" defTabSz="685800" rtl="0" eaLnBrk="1" fontAlgn="auto" latinLnBrk="0" hangingPunct="1">
                <a:lnSpc>
                  <a:spcPct val="100000"/>
                </a:lnSpc>
                <a:spcBef>
                  <a:spcPts val="150"/>
                </a:spcBef>
                <a:spcAft>
                  <a:spcPts val="0"/>
                </a:spcAft>
                <a:buClrTx/>
                <a:buSzTx/>
                <a:buFontTx/>
                <a:buNone/>
                <a:tabLst/>
                <a:defRPr/>
              </a:pPr>
              <a:r>
                <a:rPr kumimoji="0" lang="en-IN" sz="900" b="0" i="0" u="none" strike="noStrike" kern="1200" cap="none" spc="0" normalizeH="0" baseline="0" noProof="0" dirty="0" smtClean="0">
                  <a:ln>
                    <a:noFill/>
                  </a:ln>
                  <a:solidFill>
                    <a:srgbClr val="000000">
                      <a:lumMod val="65000"/>
                      <a:lumOff val="35000"/>
                    </a:srgbClr>
                  </a:solidFill>
                  <a:effectLst/>
                  <a:uLnTx/>
                  <a:uFillTx/>
                  <a:latin typeface="Calibri"/>
                  <a:ea typeface="MS PGothic" pitchFamily="34" charset="-128"/>
                  <a:cs typeface="Arial" panose="020B0604020202020204" pitchFamily="34" charset="0"/>
                </a:rPr>
                <a:t>SINGAPORE  |  UK  |  US  |  DUBAI  |  RIYADH  |  MALAYSIA</a:t>
              </a:r>
            </a:p>
          </p:txBody>
        </p:sp>
      </p:grpSp>
    </p:spTree>
    <p:extLst>
      <p:ext uri="{BB962C8B-B14F-4D97-AF65-F5344CB8AC3E}">
        <p14:creationId xmlns:p14="http://schemas.microsoft.com/office/powerpoint/2010/main" val="354055124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mj-lt"/>
            </a:endParaRPr>
          </a:p>
        </p:txBody>
      </p:sp>
      <p:sp>
        <p:nvSpPr>
          <p:cNvPr id="5" name="TextBox 4"/>
          <p:cNvSpPr txBox="1">
            <a:spLocks noChangeArrowheads="1"/>
          </p:cNvSpPr>
          <p:nvPr userDrawn="1"/>
        </p:nvSpPr>
        <p:spPr bwMode="gray">
          <a:xfrm>
            <a:off x="8837034" y="6566744"/>
            <a:ext cx="11221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750" smtClean="0">
                <a:solidFill>
                  <a:schemeClr val="bg2">
                    <a:lumMod val="25000"/>
                  </a:schemeClr>
                </a:solidFill>
                <a:latin typeface="+mj-lt"/>
                <a:cs typeface="Arial" panose="020B0604020202020204" pitchFamily="34" charset="0"/>
              </a:rPr>
              <a:pPr algn="ctr" eaLnBrk="1" hangingPunct="1">
                <a:defRPr/>
              </a:pPr>
              <a:t>‹#›</a:t>
            </a:fld>
            <a:endParaRPr lang="en-US" sz="750" dirty="0" smtClean="0">
              <a:solidFill>
                <a:schemeClr val="bg2">
                  <a:lumMod val="25000"/>
                </a:schemeClr>
              </a:solidFill>
              <a:latin typeface="+mj-lt"/>
              <a:cs typeface="Arial" panose="020B0604020202020204" pitchFamily="34" charset="0"/>
            </a:endParaRPr>
          </a:p>
        </p:txBody>
      </p:sp>
      <p:sp>
        <p:nvSpPr>
          <p:cNvPr id="3" name="Content Placeholder 2"/>
          <p:cNvSpPr>
            <a:spLocks noGrp="1"/>
          </p:cNvSpPr>
          <p:nvPr>
            <p:ph idx="1"/>
          </p:nvPr>
        </p:nvSpPr>
        <p:spPr bwMode="gray">
          <a:xfrm>
            <a:off x="956603" y="1370869"/>
            <a:ext cx="7989750" cy="1487587"/>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800">
                <a:latin typeface="+mj-lt"/>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800">
                <a:latin typeface="+mj-lt"/>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800">
                <a:latin typeface="+mj-lt"/>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800">
                <a:latin typeface="+mj-lt"/>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800">
                <a:latin typeface="+mj-lt"/>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956604" y="232070"/>
            <a:ext cx="798975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800">
                <a:solidFill>
                  <a:schemeClr val="tx2"/>
                </a:solidFill>
                <a:latin typeface="+mj-lt"/>
              </a:defRPr>
            </a:lvl1pPr>
          </a:lstStyle>
          <a:p>
            <a:pPr lvl="0"/>
            <a:r>
              <a:rPr lang="en-US" dirty="0" smtClean="0"/>
              <a:t>Click to edit title</a:t>
            </a:r>
            <a:endParaRPr lang="en-US" dirty="0"/>
          </a:p>
        </p:txBody>
      </p:sp>
      <p:sp>
        <p:nvSpPr>
          <p:cNvPr id="2" name="TextBox 1"/>
          <p:cNvSpPr txBox="1"/>
          <p:nvPr userDrawn="1"/>
        </p:nvSpPr>
        <p:spPr>
          <a:xfrm>
            <a:off x="7879847" y="6574439"/>
            <a:ext cx="790281" cy="138499"/>
          </a:xfrm>
          <a:prstGeom prst="rect">
            <a:avLst/>
          </a:prstGeom>
          <a:noFill/>
        </p:spPr>
        <p:txBody>
          <a:bodyPr wrap="none" lIns="0" tIns="0" rIns="0" bIns="0" rtlCol="0" anchor="ctr" anchorCtr="0">
            <a:spAutoFit/>
          </a:bodyPr>
          <a:lstStyle/>
          <a:p>
            <a:pPr algn="r"/>
            <a:r>
              <a:rPr lang="en-IN" sz="900" dirty="0" smtClean="0">
                <a:solidFill>
                  <a:schemeClr val="bg2">
                    <a:lumMod val="25000"/>
                  </a:schemeClr>
                </a:solidFill>
                <a:latin typeface="+mj-lt"/>
                <a:cs typeface="Arial" panose="020B0604020202020204" pitchFamily="34" charset="0"/>
              </a:rPr>
              <a:t>Maveric Systems</a:t>
            </a:r>
            <a:endParaRPr lang="en-IN" sz="900" dirty="0">
              <a:solidFill>
                <a:schemeClr val="bg2">
                  <a:lumMod val="25000"/>
                </a:schemeClr>
              </a:solidFill>
              <a:latin typeface="+mj-lt"/>
              <a:cs typeface="Arial" panose="020B0604020202020204" pitchFamily="34" charset="0"/>
            </a:endParaRPr>
          </a:p>
        </p:txBody>
      </p:sp>
      <p:cxnSp>
        <p:nvCxnSpPr>
          <p:cNvPr id="8" name="Straight Connector 7"/>
          <p:cNvCxnSpPr/>
          <p:nvPr userDrawn="1"/>
        </p:nvCxnSpPr>
        <p:spPr>
          <a:xfrm>
            <a:off x="875217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0" y="-4763"/>
            <a:ext cx="835819" cy="1147763"/>
            <a:chOff x="-19050" y="-4763"/>
            <a:chExt cx="835819" cy="1147763"/>
          </a:xfrm>
        </p:grpSpPr>
        <p:sp>
          <p:nvSpPr>
            <p:cNvPr id="13" name="Freeform 12"/>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14" name="Freeform 13"/>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Tree>
    <p:extLst>
      <p:ext uri="{BB962C8B-B14F-4D97-AF65-F5344CB8AC3E}">
        <p14:creationId xmlns:p14="http://schemas.microsoft.com/office/powerpoint/2010/main" val="107405363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750" smtClean="0">
                <a:solidFill>
                  <a:schemeClr val="bg2">
                    <a:lumMod val="25000"/>
                  </a:schemeClr>
                </a:solidFill>
                <a:latin typeface="Arial" panose="020B0604020202020204" pitchFamily="34" charset="0"/>
                <a:cs typeface="Arial" panose="020B0604020202020204" pitchFamily="34" charset="0"/>
              </a:rPr>
              <a:pPr algn="ctr" eaLnBrk="1" hangingPunct="1">
                <a:defRPr/>
              </a:pPr>
              <a:t>‹#›</a:t>
            </a:fld>
            <a:endParaRPr lang="en-US" sz="750" dirty="0" smtClean="0">
              <a:solidFill>
                <a:schemeClr val="bg2">
                  <a:lumMod val="25000"/>
                </a:schemeClr>
              </a:solidFill>
              <a:latin typeface="Arial" panose="020B0604020202020204" pitchFamily="34" charset="0"/>
              <a:cs typeface="Arial" panose="020B0604020202020204" pitchFamily="34" charset="0"/>
            </a:endParaRPr>
          </a:p>
        </p:txBody>
      </p:sp>
      <p:sp>
        <p:nvSpPr>
          <p:cNvPr id="4" name="Title Placeholder 1"/>
          <p:cNvSpPr>
            <a:spLocks noGrp="1"/>
          </p:cNvSpPr>
          <p:nvPr>
            <p:ph type="title" hasCustomPrompt="1"/>
          </p:nvPr>
        </p:nvSpPr>
        <p:spPr bwMode="gray">
          <a:xfrm>
            <a:off x="2942032" y="1715199"/>
            <a:ext cx="600432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6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algn="r"/>
            <a:r>
              <a:rPr lang="en-IN" sz="900" dirty="0" smtClean="0">
                <a:solidFill>
                  <a:schemeClr val="bg2">
                    <a:lumMod val="25000"/>
                  </a:schemeClr>
                </a:solidFill>
                <a:latin typeface="Arial" panose="020B0604020202020204" pitchFamily="34" charset="0"/>
                <a:cs typeface="Arial" panose="020B0604020202020204" pitchFamily="34" charset="0"/>
              </a:rPr>
              <a:t>Maveric Systems</a:t>
            </a:r>
            <a:endParaRPr lang="en-IN" sz="900" dirty="0">
              <a:solidFill>
                <a:schemeClr val="bg2">
                  <a:lumMod val="25000"/>
                </a:schemeClr>
              </a:solidFill>
              <a:latin typeface="Arial" panose="020B0604020202020204" pitchFamily="34" charset="0"/>
              <a:cs typeface="Arial" panose="020B0604020202020204" pitchFamily="34" charset="0"/>
            </a:endParaRP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2380" y="-28576"/>
            <a:ext cx="3529303" cy="5092122"/>
            <a:chOff x="2160910" y="711647"/>
            <a:chExt cx="3935090" cy="5677596"/>
          </a:xfrm>
        </p:grpSpPr>
        <p:sp>
          <p:nvSpPr>
            <p:cNvPr id="10" name="Freeform 9"/>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11" name="Freeform 10"/>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grpSp>
    </p:spTree>
    <p:extLst>
      <p:ext uri="{BB962C8B-B14F-4D97-AF65-F5344CB8AC3E}">
        <p14:creationId xmlns:p14="http://schemas.microsoft.com/office/powerpoint/2010/main" val="15601989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750" smtClean="0">
                <a:solidFill>
                  <a:srgbClr val="EEECE1">
                    <a:lumMod val="25000"/>
                  </a:srgbClr>
                </a:solidFill>
                <a:latin typeface="Arial" panose="020B0604020202020204" pitchFamily="34" charset="0"/>
                <a:cs typeface="Arial" panose="020B0604020202020204" pitchFamily="34" charset="0"/>
              </a:rPr>
              <a:pPr algn="ctr" eaLnBrk="1" hangingPunct="1">
                <a:defRPr/>
              </a:pPr>
              <a:t>‹#›</a:t>
            </a:fld>
            <a:endParaRPr lang="en-US" sz="750" dirty="0" smtClean="0">
              <a:solidFill>
                <a:srgbClr val="EEECE1">
                  <a:lumMod val="25000"/>
                </a:srgb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bwMode="gray">
          <a:xfrm>
            <a:off x="751113" y="1370869"/>
            <a:ext cx="8195240" cy="1141338"/>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350">
                <a:latin typeface="Arial" panose="020B0604020202020204" pitchFamily="34" charset="0"/>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350">
                <a:latin typeface="Arial" panose="020B0604020202020204" pitchFamily="34" charset="0"/>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350">
                <a:latin typeface="Arial" panose="020B0604020202020204" pitchFamily="34" charset="0"/>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350">
                <a:latin typeface="Arial" panose="020B0604020202020204" pitchFamily="34" charset="0"/>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350">
                <a:latin typeface="Arial" panose="020B0604020202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751114" y="200321"/>
            <a:ext cx="819524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1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algn="r"/>
            <a:r>
              <a:rPr lang="en-IN" sz="900" dirty="0" smtClean="0">
                <a:solidFill>
                  <a:srgbClr val="EEECE1">
                    <a:lumMod val="25000"/>
                  </a:srgbClr>
                </a:solidFill>
                <a:latin typeface="Arial" panose="020B0604020202020204" pitchFamily="34" charset="0"/>
                <a:cs typeface="Arial" panose="020B0604020202020204" pitchFamily="34" charset="0"/>
              </a:rPr>
              <a:t>Maveric Systems</a:t>
            </a:r>
            <a:endParaRPr lang="en-IN" sz="900" dirty="0">
              <a:solidFill>
                <a:srgbClr val="EEECE1">
                  <a:lumMod val="25000"/>
                </a:srgbClr>
              </a:solidFill>
              <a:latin typeface="Arial" panose="020B0604020202020204" pitchFamily="34" charset="0"/>
              <a:cs typeface="Arial" panose="020B0604020202020204" pitchFamily="34" charset="0"/>
            </a:endParaRP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 y="-4763"/>
            <a:ext cx="626864"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solidFill>
                  <a:prstClr val="white"/>
                </a:solidFill>
              </a:endParaRPr>
            </a:p>
          </p:txBody>
        </p:sp>
      </p:grpSp>
    </p:spTree>
    <p:extLst>
      <p:ext uri="{BB962C8B-B14F-4D97-AF65-F5344CB8AC3E}">
        <p14:creationId xmlns:p14="http://schemas.microsoft.com/office/powerpoint/2010/main" val="156740079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preferRelativeResize="0">
            <a:picLocks/>
          </p:cNvPicPr>
          <p:nvPr userDrawn="1"/>
        </p:nvPicPr>
        <p:blipFill rotWithShape="1">
          <a:blip r:embed="rId2">
            <a:extLst>
              <a:ext uri="{28A0092B-C50C-407E-A947-70E740481C1C}">
                <a14:useLocalDpi xmlns:a14="http://schemas.microsoft.com/office/drawing/2010/main" val="0"/>
              </a:ext>
            </a:extLst>
          </a:blip>
          <a:srcRect r="8968"/>
          <a:stretch/>
        </p:blipFill>
        <p:spPr bwMode="gray">
          <a:xfrm>
            <a:off x="-1" y="4279168"/>
            <a:ext cx="9158069" cy="2578832"/>
          </a:xfrm>
          <a:prstGeom prst="rect">
            <a:avLst/>
          </a:prstGeom>
        </p:spPr>
      </p:pic>
      <p:grpSp>
        <p:nvGrpSpPr>
          <p:cNvPr id="36" name="Group 35"/>
          <p:cNvGrpSpPr/>
          <p:nvPr userDrawn="1"/>
        </p:nvGrpSpPr>
        <p:grpSpPr bwMode="gray">
          <a:xfrm>
            <a:off x="1663895" y="814098"/>
            <a:ext cx="5816209" cy="4374658"/>
            <a:chOff x="3187895" y="299551"/>
            <a:chExt cx="5816209" cy="4374658"/>
          </a:xfrm>
        </p:grpSpPr>
        <p:grpSp>
          <p:nvGrpSpPr>
            <p:cNvPr id="37" name="Group 36"/>
            <p:cNvGrpSpPr>
              <a:grpSpLocks noChangeAspect="1"/>
            </p:cNvGrpSpPr>
            <p:nvPr/>
          </p:nvGrpSpPr>
          <p:grpSpPr bwMode="gray">
            <a:xfrm>
              <a:off x="4971813" y="299551"/>
              <a:ext cx="2248375" cy="830271"/>
              <a:chOff x="6391275" y="515938"/>
              <a:chExt cx="3813176" cy="1408113"/>
            </a:xfrm>
          </p:grpSpPr>
          <p:sp>
            <p:nvSpPr>
              <p:cNvPr id="40" name="Freeform 39"/>
              <p:cNvSpPr>
                <a:spLocks/>
              </p:cNvSpPr>
              <p:nvPr/>
            </p:nvSpPr>
            <p:spPr bwMode="gray">
              <a:xfrm>
                <a:off x="6789738" y="1677988"/>
                <a:ext cx="138113" cy="185738"/>
              </a:xfrm>
              <a:custGeom>
                <a:avLst/>
                <a:gdLst>
                  <a:gd name="T0" fmla="*/ 202 w 497"/>
                  <a:gd name="T1" fmla="*/ 85 h 673"/>
                  <a:gd name="T2" fmla="*/ 202 w 497"/>
                  <a:gd name="T3" fmla="*/ 85 h 673"/>
                  <a:gd name="T4" fmla="*/ 0 w 497"/>
                  <a:gd name="T5" fmla="*/ 85 h 673"/>
                  <a:gd name="T6" fmla="*/ 0 w 497"/>
                  <a:gd name="T7" fmla="*/ 0 h 673"/>
                  <a:gd name="T8" fmla="*/ 497 w 497"/>
                  <a:gd name="T9" fmla="*/ 0 h 673"/>
                  <a:gd name="T10" fmla="*/ 497 w 497"/>
                  <a:gd name="T11" fmla="*/ 85 h 673"/>
                  <a:gd name="T12" fmla="*/ 295 w 497"/>
                  <a:gd name="T13" fmla="*/ 85 h 673"/>
                  <a:gd name="T14" fmla="*/ 295 w 497"/>
                  <a:gd name="T15" fmla="*/ 673 h 673"/>
                  <a:gd name="T16" fmla="*/ 202 w 497"/>
                  <a:gd name="T17" fmla="*/ 673 h 673"/>
                  <a:gd name="T18" fmla="*/ 202 w 497"/>
                  <a:gd name="T19" fmla="*/ 8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673">
                    <a:moveTo>
                      <a:pt x="202" y="85"/>
                    </a:moveTo>
                    <a:lnTo>
                      <a:pt x="202" y="85"/>
                    </a:lnTo>
                    <a:lnTo>
                      <a:pt x="0" y="85"/>
                    </a:lnTo>
                    <a:lnTo>
                      <a:pt x="0" y="0"/>
                    </a:lnTo>
                    <a:lnTo>
                      <a:pt x="497" y="0"/>
                    </a:lnTo>
                    <a:lnTo>
                      <a:pt x="497" y="85"/>
                    </a:lnTo>
                    <a:lnTo>
                      <a:pt x="295" y="85"/>
                    </a:lnTo>
                    <a:lnTo>
                      <a:pt x="295" y="673"/>
                    </a:lnTo>
                    <a:lnTo>
                      <a:pt x="202" y="673"/>
                    </a:lnTo>
                    <a:lnTo>
                      <a:pt x="202" y="8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1" name="Freeform 40"/>
              <p:cNvSpPr>
                <a:spLocks/>
              </p:cNvSpPr>
              <p:nvPr/>
            </p:nvSpPr>
            <p:spPr bwMode="gray">
              <a:xfrm>
                <a:off x="6938963"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8 w 265"/>
                  <a:gd name="T11" fmla="*/ 0 h 503"/>
                  <a:gd name="T12" fmla="*/ 265 w 265"/>
                  <a:gd name="T13" fmla="*/ 7 h 503"/>
                  <a:gd name="T14" fmla="*/ 265 w 265"/>
                  <a:gd name="T15" fmla="*/ 87 h 503"/>
                  <a:gd name="T16" fmla="*/ 217 w 265"/>
                  <a:gd name="T17" fmla="*/ 79 h 503"/>
                  <a:gd name="T18" fmla="*/ 88 w 265"/>
                  <a:gd name="T19" fmla="*/ 279 h 503"/>
                  <a:gd name="T20" fmla="*/ 88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8" y="0"/>
                    </a:cubicBezTo>
                    <a:cubicBezTo>
                      <a:pt x="234" y="0"/>
                      <a:pt x="247" y="3"/>
                      <a:pt x="265" y="7"/>
                    </a:cubicBezTo>
                    <a:lnTo>
                      <a:pt x="265" y="87"/>
                    </a:lnTo>
                    <a:cubicBezTo>
                      <a:pt x="249"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2" name="Freeform 41"/>
              <p:cNvSpPr>
                <a:spLocks noEditPoints="1"/>
              </p:cNvSpPr>
              <p:nvPr/>
            </p:nvSpPr>
            <p:spPr bwMode="gray">
              <a:xfrm>
                <a:off x="7037388" y="1725613"/>
                <a:ext cx="111125" cy="141288"/>
              </a:xfrm>
              <a:custGeom>
                <a:avLst/>
                <a:gdLst>
                  <a:gd name="T0" fmla="*/ 313 w 404"/>
                  <a:gd name="T1" fmla="*/ 269 h 514"/>
                  <a:gd name="T2" fmla="*/ 313 w 404"/>
                  <a:gd name="T3" fmla="*/ 269 h 514"/>
                  <a:gd name="T4" fmla="*/ 257 w 404"/>
                  <a:gd name="T5" fmla="*/ 267 h 514"/>
                  <a:gd name="T6" fmla="*/ 93 w 404"/>
                  <a:gd name="T7" fmla="*/ 361 h 514"/>
                  <a:gd name="T8" fmla="*/ 181 w 404"/>
                  <a:gd name="T9" fmla="*/ 441 h 514"/>
                  <a:gd name="T10" fmla="*/ 313 w 404"/>
                  <a:gd name="T11" fmla="*/ 312 h 514"/>
                  <a:gd name="T12" fmla="*/ 313 w 404"/>
                  <a:gd name="T13" fmla="*/ 269 h 514"/>
                  <a:gd name="T14" fmla="*/ 313 w 404"/>
                  <a:gd name="T15" fmla="*/ 269 h 514"/>
                  <a:gd name="T16" fmla="*/ 54 w 404"/>
                  <a:gd name="T17" fmla="*/ 46 h 514"/>
                  <a:gd name="T18" fmla="*/ 54 w 404"/>
                  <a:gd name="T19" fmla="*/ 46 h 514"/>
                  <a:gd name="T20" fmla="*/ 210 w 404"/>
                  <a:gd name="T21" fmla="*/ 0 h 514"/>
                  <a:gd name="T22" fmla="*/ 401 w 404"/>
                  <a:gd name="T23" fmla="*/ 203 h 514"/>
                  <a:gd name="T24" fmla="*/ 401 w 404"/>
                  <a:gd name="T25" fmla="*/ 406 h 514"/>
                  <a:gd name="T26" fmla="*/ 404 w 404"/>
                  <a:gd name="T27" fmla="*/ 503 h 514"/>
                  <a:gd name="T28" fmla="*/ 322 w 404"/>
                  <a:gd name="T29" fmla="*/ 503 h 514"/>
                  <a:gd name="T30" fmla="*/ 322 w 404"/>
                  <a:gd name="T31" fmla="*/ 439 h 514"/>
                  <a:gd name="T32" fmla="*/ 321 w 404"/>
                  <a:gd name="T33" fmla="*/ 439 h 514"/>
                  <a:gd name="T34" fmla="*/ 174 w 404"/>
                  <a:gd name="T35" fmla="*/ 514 h 514"/>
                  <a:gd name="T36" fmla="*/ 0 w 404"/>
                  <a:gd name="T37" fmla="*/ 361 h 514"/>
                  <a:gd name="T38" fmla="*/ 220 w 404"/>
                  <a:gd name="T39" fmla="*/ 199 h 514"/>
                  <a:gd name="T40" fmla="*/ 313 w 404"/>
                  <a:gd name="T41" fmla="*/ 201 h 514"/>
                  <a:gd name="T42" fmla="*/ 196 w 404"/>
                  <a:gd name="T43" fmla="*/ 73 h 514"/>
                  <a:gd name="T44" fmla="*/ 58 w 404"/>
                  <a:gd name="T45" fmla="*/ 123 h 514"/>
                  <a:gd name="T46" fmla="*/ 54 w 404"/>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4" h="514">
                    <a:moveTo>
                      <a:pt x="313" y="269"/>
                    </a:moveTo>
                    <a:lnTo>
                      <a:pt x="313" y="269"/>
                    </a:lnTo>
                    <a:cubicBezTo>
                      <a:pt x="295" y="269"/>
                      <a:pt x="276" y="267"/>
                      <a:pt x="257" y="267"/>
                    </a:cubicBezTo>
                    <a:cubicBezTo>
                      <a:pt x="210" y="267"/>
                      <a:pt x="93" y="275"/>
                      <a:pt x="93" y="361"/>
                    </a:cubicBezTo>
                    <a:cubicBezTo>
                      <a:pt x="93" y="413"/>
                      <a:pt x="141" y="441"/>
                      <a:pt x="181" y="441"/>
                    </a:cubicBezTo>
                    <a:cubicBezTo>
                      <a:pt x="268" y="441"/>
                      <a:pt x="313" y="385"/>
                      <a:pt x="313" y="312"/>
                    </a:cubicBezTo>
                    <a:lnTo>
                      <a:pt x="313" y="269"/>
                    </a:lnTo>
                    <a:lnTo>
                      <a:pt x="313" y="269"/>
                    </a:lnTo>
                    <a:close/>
                    <a:moveTo>
                      <a:pt x="54" y="46"/>
                    </a:moveTo>
                    <a:lnTo>
                      <a:pt x="54" y="46"/>
                    </a:lnTo>
                    <a:cubicBezTo>
                      <a:pt x="98" y="19"/>
                      <a:pt x="150" y="0"/>
                      <a:pt x="210" y="0"/>
                    </a:cubicBezTo>
                    <a:cubicBezTo>
                      <a:pt x="346" y="0"/>
                      <a:pt x="401" y="69"/>
                      <a:pt x="401" y="203"/>
                    </a:cubicBezTo>
                    <a:lnTo>
                      <a:pt x="401" y="406"/>
                    </a:lnTo>
                    <a:cubicBezTo>
                      <a:pt x="401" y="462"/>
                      <a:pt x="403" y="488"/>
                      <a:pt x="404" y="503"/>
                    </a:cubicBezTo>
                    <a:lnTo>
                      <a:pt x="322" y="503"/>
                    </a:lnTo>
                    <a:lnTo>
                      <a:pt x="322" y="439"/>
                    </a:lnTo>
                    <a:lnTo>
                      <a:pt x="321" y="439"/>
                    </a:lnTo>
                    <a:cubicBezTo>
                      <a:pt x="300" y="469"/>
                      <a:pt x="254" y="514"/>
                      <a:pt x="174" y="514"/>
                    </a:cubicBezTo>
                    <a:cubicBezTo>
                      <a:pt x="71" y="514"/>
                      <a:pt x="0" y="468"/>
                      <a:pt x="0" y="361"/>
                    </a:cubicBezTo>
                    <a:cubicBezTo>
                      <a:pt x="0" y="238"/>
                      <a:pt x="130" y="199"/>
                      <a:pt x="220" y="199"/>
                    </a:cubicBezTo>
                    <a:cubicBezTo>
                      <a:pt x="255" y="199"/>
                      <a:pt x="279" y="199"/>
                      <a:pt x="313" y="201"/>
                    </a:cubicBezTo>
                    <a:cubicBezTo>
                      <a:pt x="313" y="116"/>
                      <a:pt x="283" y="73"/>
                      <a:pt x="196" y="73"/>
                    </a:cubicBezTo>
                    <a:cubicBezTo>
                      <a:pt x="147" y="73"/>
                      <a:pt x="94" y="92"/>
                      <a:pt x="58"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3" name="Freeform 42"/>
              <p:cNvSpPr>
                <a:spLocks/>
              </p:cNvSpPr>
              <p:nvPr/>
            </p:nvSpPr>
            <p:spPr bwMode="gray">
              <a:xfrm>
                <a:off x="7196138" y="1725613"/>
                <a:ext cx="115888" cy="138113"/>
              </a:xfrm>
              <a:custGeom>
                <a:avLst/>
                <a:gdLst>
                  <a:gd name="T0" fmla="*/ 0 w 419"/>
                  <a:gd name="T1" fmla="*/ 11 h 503"/>
                  <a:gd name="T2" fmla="*/ 0 w 419"/>
                  <a:gd name="T3" fmla="*/ 11 h 503"/>
                  <a:gd name="T4" fmla="*/ 85 w 419"/>
                  <a:gd name="T5" fmla="*/ 11 h 503"/>
                  <a:gd name="T6" fmla="*/ 85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5" y="11"/>
                    </a:lnTo>
                    <a:lnTo>
                      <a:pt x="85" y="89"/>
                    </a:lnTo>
                    <a:lnTo>
                      <a:pt x="86" y="89"/>
                    </a:lnTo>
                    <a:cubicBezTo>
                      <a:pt x="112" y="34"/>
                      <a:pt x="176" y="0"/>
                      <a:pt x="242" y="0"/>
                    </a:cubicBezTo>
                    <a:cubicBezTo>
                      <a:pt x="365"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4" name="Freeform 43"/>
              <p:cNvSpPr>
                <a:spLocks/>
              </p:cNvSpPr>
              <p:nvPr/>
            </p:nvSpPr>
            <p:spPr bwMode="gray">
              <a:xfrm>
                <a:off x="7348538" y="1725613"/>
                <a:ext cx="82550" cy="141288"/>
              </a:xfrm>
              <a:custGeom>
                <a:avLst/>
                <a:gdLst>
                  <a:gd name="T0" fmla="*/ 7 w 298"/>
                  <a:gd name="T1" fmla="*/ 406 h 514"/>
                  <a:gd name="T2" fmla="*/ 7 w 298"/>
                  <a:gd name="T3" fmla="*/ 406 h 514"/>
                  <a:gd name="T4" fmla="*/ 116 w 298"/>
                  <a:gd name="T5" fmla="*/ 441 h 514"/>
                  <a:gd name="T6" fmla="*/ 205 w 298"/>
                  <a:gd name="T7" fmla="*/ 371 h 514"/>
                  <a:gd name="T8" fmla="*/ 0 w 298"/>
                  <a:gd name="T9" fmla="*/ 151 h 514"/>
                  <a:gd name="T10" fmla="*/ 167 w 298"/>
                  <a:gd name="T11" fmla="*/ 0 h 514"/>
                  <a:gd name="T12" fmla="*/ 276 w 298"/>
                  <a:gd name="T13" fmla="*/ 19 h 514"/>
                  <a:gd name="T14" fmla="*/ 269 w 298"/>
                  <a:gd name="T15" fmla="*/ 98 h 514"/>
                  <a:gd name="T16" fmla="*/ 177 w 298"/>
                  <a:gd name="T17" fmla="*/ 73 h 514"/>
                  <a:gd name="T18" fmla="*/ 93 w 298"/>
                  <a:gd name="T19" fmla="*/ 133 h 514"/>
                  <a:gd name="T20" fmla="*/ 298 w 298"/>
                  <a:gd name="T21" fmla="*/ 361 h 514"/>
                  <a:gd name="T22" fmla="*/ 133 w 298"/>
                  <a:gd name="T23" fmla="*/ 514 h 514"/>
                  <a:gd name="T24" fmla="*/ 3 w 298"/>
                  <a:gd name="T25" fmla="*/ 487 h 514"/>
                  <a:gd name="T26" fmla="*/ 7 w 298"/>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514">
                    <a:moveTo>
                      <a:pt x="7" y="406"/>
                    </a:moveTo>
                    <a:lnTo>
                      <a:pt x="7" y="406"/>
                    </a:lnTo>
                    <a:cubicBezTo>
                      <a:pt x="42" y="429"/>
                      <a:pt x="91" y="441"/>
                      <a:pt x="116" y="441"/>
                    </a:cubicBezTo>
                    <a:cubicBezTo>
                      <a:pt x="156" y="441"/>
                      <a:pt x="205" y="424"/>
                      <a:pt x="205" y="371"/>
                    </a:cubicBezTo>
                    <a:cubicBezTo>
                      <a:pt x="205" y="281"/>
                      <a:pt x="0" y="289"/>
                      <a:pt x="0" y="151"/>
                    </a:cubicBezTo>
                    <a:cubicBezTo>
                      <a:pt x="0" y="49"/>
                      <a:pt x="73" y="0"/>
                      <a:pt x="167" y="0"/>
                    </a:cubicBezTo>
                    <a:cubicBezTo>
                      <a:pt x="208" y="0"/>
                      <a:pt x="242" y="8"/>
                      <a:pt x="276" y="19"/>
                    </a:cubicBezTo>
                    <a:lnTo>
                      <a:pt x="269" y="98"/>
                    </a:lnTo>
                    <a:cubicBezTo>
                      <a:pt x="249" y="86"/>
                      <a:pt x="197" y="73"/>
                      <a:pt x="177" y="73"/>
                    </a:cubicBezTo>
                    <a:cubicBezTo>
                      <a:pt x="132" y="73"/>
                      <a:pt x="93" y="92"/>
                      <a:pt x="93" y="133"/>
                    </a:cubicBezTo>
                    <a:cubicBezTo>
                      <a:pt x="93" y="233"/>
                      <a:pt x="298" y="204"/>
                      <a:pt x="298" y="361"/>
                    </a:cubicBezTo>
                    <a:cubicBezTo>
                      <a:pt x="298" y="466"/>
                      <a:pt x="218" y="514"/>
                      <a:pt x="133" y="514"/>
                    </a:cubicBezTo>
                    <a:cubicBezTo>
                      <a:pt x="88" y="514"/>
                      <a:pt x="43" y="509"/>
                      <a:pt x="3" y="487"/>
                    </a:cubicBezTo>
                    <a:lnTo>
                      <a:pt x="7"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5" name="Freeform 44"/>
              <p:cNvSpPr>
                <a:spLocks/>
              </p:cNvSpPr>
              <p:nvPr/>
            </p:nvSpPr>
            <p:spPr bwMode="gray">
              <a:xfrm>
                <a:off x="7451725" y="1660526"/>
                <a:ext cx="92075" cy="203200"/>
              </a:xfrm>
              <a:custGeom>
                <a:avLst/>
                <a:gdLst>
                  <a:gd name="T0" fmla="*/ 112 w 329"/>
                  <a:gd name="T1" fmla="*/ 315 h 734"/>
                  <a:gd name="T2" fmla="*/ 112 w 329"/>
                  <a:gd name="T3" fmla="*/ 315 h 734"/>
                  <a:gd name="T4" fmla="*/ 0 w 329"/>
                  <a:gd name="T5" fmla="*/ 315 h 734"/>
                  <a:gd name="T6" fmla="*/ 0 w 329"/>
                  <a:gd name="T7" fmla="*/ 242 h 734"/>
                  <a:gd name="T8" fmla="*/ 112 w 329"/>
                  <a:gd name="T9" fmla="*/ 242 h 734"/>
                  <a:gd name="T10" fmla="*/ 112 w 329"/>
                  <a:gd name="T11" fmla="*/ 197 h 734"/>
                  <a:gd name="T12" fmla="*/ 270 w 329"/>
                  <a:gd name="T13" fmla="*/ 0 h 734"/>
                  <a:gd name="T14" fmla="*/ 329 w 329"/>
                  <a:gd name="T15" fmla="*/ 5 h 734"/>
                  <a:gd name="T16" fmla="*/ 325 w 329"/>
                  <a:gd name="T17" fmla="*/ 79 h 734"/>
                  <a:gd name="T18" fmla="*/ 284 w 329"/>
                  <a:gd name="T19" fmla="*/ 73 h 734"/>
                  <a:gd name="T20" fmla="*/ 199 w 329"/>
                  <a:gd name="T21" fmla="*/ 190 h 734"/>
                  <a:gd name="T22" fmla="*/ 199 w 329"/>
                  <a:gd name="T23" fmla="*/ 242 h 734"/>
                  <a:gd name="T24" fmla="*/ 324 w 329"/>
                  <a:gd name="T25" fmla="*/ 242 h 734"/>
                  <a:gd name="T26" fmla="*/ 324 w 329"/>
                  <a:gd name="T27" fmla="*/ 315 h 734"/>
                  <a:gd name="T28" fmla="*/ 199 w 329"/>
                  <a:gd name="T29" fmla="*/ 315 h 734"/>
                  <a:gd name="T30" fmla="*/ 199 w 329"/>
                  <a:gd name="T31" fmla="*/ 734 h 734"/>
                  <a:gd name="T32" fmla="*/ 112 w 329"/>
                  <a:gd name="T33" fmla="*/ 734 h 734"/>
                  <a:gd name="T34" fmla="*/ 112 w 329"/>
                  <a:gd name="T35" fmla="*/ 315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734">
                    <a:moveTo>
                      <a:pt x="112" y="315"/>
                    </a:moveTo>
                    <a:lnTo>
                      <a:pt x="112" y="315"/>
                    </a:lnTo>
                    <a:lnTo>
                      <a:pt x="0" y="315"/>
                    </a:lnTo>
                    <a:lnTo>
                      <a:pt x="0" y="242"/>
                    </a:lnTo>
                    <a:lnTo>
                      <a:pt x="112" y="242"/>
                    </a:lnTo>
                    <a:lnTo>
                      <a:pt x="112" y="197"/>
                    </a:lnTo>
                    <a:cubicBezTo>
                      <a:pt x="112" y="78"/>
                      <a:pt x="141" y="0"/>
                      <a:pt x="270" y="0"/>
                    </a:cubicBezTo>
                    <a:cubicBezTo>
                      <a:pt x="293" y="0"/>
                      <a:pt x="312" y="2"/>
                      <a:pt x="329" y="5"/>
                    </a:cubicBezTo>
                    <a:lnTo>
                      <a:pt x="325" y="79"/>
                    </a:lnTo>
                    <a:cubicBezTo>
                      <a:pt x="315" y="75"/>
                      <a:pt x="298" y="73"/>
                      <a:pt x="284" y="73"/>
                    </a:cubicBezTo>
                    <a:cubicBezTo>
                      <a:pt x="208" y="73"/>
                      <a:pt x="199" y="123"/>
                      <a:pt x="199" y="190"/>
                    </a:cubicBezTo>
                    <a:lnTo>
                      <a:pt x="199" y="242"/>
                    </a:lnTo>
                    <a:lnTo>
                      <a:pt x="324" y="242"/>
                    </a:lnTo>
                    <a:lnTo>
                      <a:pt x="324" y="315"/>
                    </a:lnTo>
                    <a:lnTo>
                      <a:pt x="199" y="315"/>
                    </a:lnTo>
                    <a:lnTo>
                      <a:pt x="199" y="734"/>
                    </a:lnTo>
                    <a:lnTo>
                      <a:pt x="112" y="734"/>
                    </a:lnTo>
                    <a:lnTo>
                      <a:pt x="112" y="31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6" name="Freeform 45"/>
              <p:cNvSpPr>
                <a:spLocks noEditPoints="1"/>
              </p:cNvSpPr>
              <p:nvPr/>
            </p:nvSpPr>
            <p:spPr bwMode="gray">
              <a:xfrm>
                <a:off x="7564438" y="1725613"/>
                <a:ext cx="134938" cy="141288"/>
              </a:xfrm>
              <a:custGeom>
                <a:avLst/>
                <a:gdLst>
                  <a:gd name="T0" fmla="*/ 242 w 483"/>
                  <a:gd name="T1" fmla="*/ 441 h 514"/>
                  <a:gd name="T2" fmla="*/ 242 w 483"/>
                  <a:gd name="T3" fmla="*/ 441 h 514"/>
                  <a:gd name="T4" fmla="*/ 390 w 483"/>
                  <a:gd name="T5" fmla="*/ 257 h 514"/>
                  <a:gd name="T6" fmla="*/ 242 w 483"/>
                  <a:gd name="T7" fmla="*/ 73 h 514"/>
                  <a:gd name="T8" fmla="*/ 93 w 483"/>
                  <a:gd name="T9" fmla="*/ 257 h 514"/>
                  <a:gd name="T10" fmla="*/ 242 w 483"/>
                  <a:gd name="T11" fmla="*/ 441 h 514"/>
                  <a:gd name="T12" fmla="*/ 242 w 483"/>
                  <a:gd name="T13" fmla="*/ 441 h 514"/>
                  <a:gd name="T14" fmla="*/ 242 w 483"/>
                  <a:gd name="T15" fmla="*/ 0 h 514"/>
                  <a:gd name="T16" fmla="*/ 242 w 483"/>
                  <a:gd name="T17" fmla="*/ 0 h 514"/>
                  <a:gd name="T18" fmla="*/ 483 w 483"/>
                  <a:gd name="T19" fmla="*/ 257 h 514"/>
                  <a:gd name="T20" fmla="*/ 242 w 483"/>
                  <a:gd name="T21" fmla="*/ 514 h 514"/>
                  <a:gd name="T22" fmla="*/ 0 w 483"/>
                  <a:gd name="T23" fmla="*/ 257 h 514"/>
                  <a:gd name="T24" fmla="*/ 242 w 483"/>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514">
                    <a:moveTo>
                      <a:pt x="242" y="441"/>
                    </a:moveTo>
                    <a:lnTo>
                      <a:pt x="242" y="441"/>
                    </a:lnTo>
                    <a:cubicBezTo>
                      <a:pt x="344" y="441"/>
                      <a:pt x="390" y="345"/>
                      <a:pt x="390" y="257"/>
                    </a:cubicBezTo>
                    <a:cubicBezTo>
                      <a:pt x="390" y="164"/>
                      <a:pt x="335" y="73"/>
                      <a:pt x="242" y="73"/>
                    </a:cubicBezTo>
                    <a:cubicBezTo>
                      <a:pt x="148" y="73"/>
                      <a:pt x="93" y="164"/>
                      <a:pt x="93" y="257"/>
                    </a:cubicBezTo>
                    <a:cubicBezTo>
                      <a:pt x="93" y="345"/>
                      <a:pt x="139" y="441"/>
                      <a:pt x="242" y="441"/>
                    </a:cubicBezTo>
                    <a:lnTo>
                      <a:pt x="242" y="441"/>
                    </a:lnTo>
                    <a:close/>
                    <a:moveTo>
                      <a:pt x="242" y="0"/>
                    </a:moveTo>
                    <a:lnTo>
                      <a:pt x="242" y="0"/>
                    </a:lnTo>
                    <a:cubicBezTo>
                      <a:pt x="386" y="0"/>
                      <a:pt x="483" y="108"/>
                      <a:pt x="483" y="257"/>
                    </a:cubicBezTo>
                    <a:cubicBezTo>
                      <a:pt x="483" y="397"/>
                      <a:pt x="384" y="514"/>
                      <a:pt x="242" y="514"/>
                    </a:cubicBezTo>
                    <a:cubicBezTo>
                      <a:pt x="99" y="514"/>
                      <a:pt x="0" y="397"/>
                      <a:pt x="0" y="257"/>
                    </a:cubicBezTo>
                    <a:cubicBezTo>
                      <a:pt x="0" y="108"/>
                      <a:pt x="97" y="0"/>
                      <a:pt x="242" y="0"/>
                    </a:cubicBez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0" name="Freeform 79"/>
              <p:cNvSpPr>
                <a:spLocks/>
              </p:cNvSpPr>
              <p:nvPr/>
            </p:nvSpPr>
            <p:spPr bwMode="gray">
              <a:xfrm>
                <a:off x="7737475" y="1725613"/>
                <a:ext cx="74613" cy="138113"/>
              </a:xfrm>
              <a:custGeom>
                <a:avLst/>
                <a:gdLst>
                  <a:gd name="T0" fmla="*/ 0 w 266"/>
                  <a:gd name="T1" fmla="*/ 11 h 503"/>
                  <a:gd name="T2" fmla="*/ 0 w 266"/>
                  <a:gd name="T3" fmla="*/ 11 h 503"/>
                  <a:gd name="T4" fmla="*/ 82 w 266"/>
                  <a:gd name="T5" fmla="*/ 11 h 503"/>
                  <a:gd name="T6" fmla="*/ 82 w 266"/>
                  <a:gd name="T7" fmla="*/ 87 h 503"/>
                  <a:gd name="T8" fmla="*/ 84 w 266"/>
                  <a:gd name="T9" fmla="*/ 87 h 503"/>
                  <a:gd name="T10" fmla="*/ 208 w 266"/>
                  <a:gd name="T11" fmla="*/ 0 h 503"/>
                  <a:gd name="T12" fmla="*/ 266 w 266"/>
                  <a:gd name="T13" fmla="*/ 7 h 503"/>
                  <a:gd name="T14" fmla="*/ 266 w 266"/>
                  <a:gd name="T15" fmla="*/ 87 h 503"/>
                  <a:gd name="T16" fmla="*/ 217 w 266"/>
                  <a:gd name="T17" fmla="*/ 79 h 503"/>
                  <a:gd name="T18" fmla="*/ 88 w 266"/>
                  <a:gd name="T19" fmla="*/ 279 h 503"/>
                  <a:gd name="T20" fmla="*/ 88 w 266"/>
                  <a:gd name="T21" fmla="*/ 503 h 503"/>
                  <a:gd name="T22" fmla="*/ 0 w 266"/>
                  <a:gd name="T23" fmla="*/ 503 h 503"/>
                  <a:gd name="T24" fmla="*/ 0 w 266"/>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503">
                    <a:moveTo>
                      <a:pt x="0" y="11"/>
                    </a:moveTo>
                    <a:lnTo>
                      <a:pt x="0" y="11"/>
                    </a:lnTo>
                    <a:lnTo>
                      <a:pt x="82" y="11"/>
                    </a:lnTo>
                    <a:lnTo>
                      <a:pt x="82" y="87"/>
                    </a:lnTo>
                    <a:lnTo>
                      <a:pt x="84" y="87"/>
                    </a:lnTo>
                    <a:cubicBezTo>
                      <a:pt x="108" y="37"/>
                      <a:pt x="158" y="0"/>
                      <a:pt x="208" y="0"/>
                    </a:cubicBezTo>
                    <a:cubicBezTo>
                      <a:pt x="234" y="0"/>
                      <a:pt x="247" y="3"/>
                      <a:pt x="266" y="7"/>
                    </a:cubicBezTo>
                    <a:lnTo>
                      <a:pt x="266" y="87"/>
                    </a:lnTo>
                    <a:cubicBezTo>
                      <a:pt x="250"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1" name="Freeform 80"/>
              <p:cNvSpPr>
                <a:spLocks/>
              </p:cNvSpPr>
              <p:nvPr/>
            </p:nvSpPr>
            <p:spPr bwMode="gray">
              <a:xfrm>
                <a:off x="7845425" y="1725613"/>
                <a:ext cx="188913" cy="138113"/>
              </a:xfrm>
              <a:custGeom>
                <a:avLst/>
                <a:gdLst>
                  <a:gd name="T0" fmla="*/ 0 w 681"/>
                  <a:gd name="T1" fmla="*/ 11 h 503"/>
                  <a:gd name="T2" fmla="*/ 0 w 681"/>
                  <a:gd name="T3" fmla="*/ 11 h 503"/>
                  <a:gd name="T4" fmla="*/ 82 w 681"/>
                  <a:gd name="T5" fmla="*/ 11 h 503"/>
                  <a:gd name="T6" fmla="*/ 82 w 681"/>
                  <a:gd name="T7" fmla="*/ 83 h 503"/>
                  <a:gd name="T8" fmla="*/ 83 w 681"/>
                  <a:gd name="T9" fmla="*/ 83 h 503"/>
                  <a:gd name="T10" fmla="*/ 234 w 681"/>
                  <a:gd name="T11" fmla="*/ 0 h 503"/>
                  <a:gd name="T12" fmla="*/ 369 w 681"/>
                  <a:gd name="T13" fmla="*/ 95 h 503"/>
                  <a:gd name="T14" fmla="*/ 516 w 681"/>
                  <a:gd name="T15" fmla="*/ 0 h 503"/>
                  <a:gd name="T16" fmla="*/ 681 w 681"/>
                  <a:gd name="T17" fmla="*/ 188 h 503"/>
                  <a:gd name="T18" fmla="*/ 681 w 681"/>
                  <a:gd name="T19" fmla="*/ 503 h 503"/>
                  <a:gd name="T20" fmla="*/ 593 w 681"/>
                  <a:gd name="T21" fmla="*/ 503 h 503"/>
                  <a:gd name="T22" fmla="*/ 593 w 681"/>
                  <a:gd name="T23" fmla="*/ 210 h 503"/>
                  <a:gd name="T24" fmla="*/ 509 w 681"/>
                  <a:gd name="T25" fmla="*/ 73 h 503"/>
                  <a:gd name="T26" fmla="*/ 384 w 681"/>
                  <a:gd name="T27" fmla="*/ 255 h 503"/>
                  <a:gd name="T28" fmla="*/ 384 w 681"/>
                  <a:gd name="T29" fmla="*/ 503 h 503"/>
                  <a:gd name="T30" fmla="*/ 297 w 681"/>
                  <a:gd name="T31" fmla="*/ 503 h 503"/>
                  <a:gd name="T32" fmla="*/ 297 w 681"/>
                  <a:gd name="T33" fmla="*/ 210 h 503"/>
                  <a:gd name="T34" fmla="*/ 212 w 681"/>
                  <a:gd name="T35" fmla="*/ 73 h 503"/>
                  <a:gd name="T36" fmla="*/ 87 w 681"/>
                  <a:gd name="T37" fmla="*/ 255 h 503"/>
                  <a:gd name="T38" fmla="*/ 87 w 681"/>
                  <a:gd name="T39" fmla="*/ 503 h 503"/>
                  <a:gd name="T40" fmla="*/ 0 w 681"/>
                  <a:gd name="T41" fmla="*/ 503 h 503"/>
                  <a:gd name="T42" fmla="*/ 0 w 681"/>
                  <a:gd name="T43"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1" h="503">
                    <a:moveTo>
                      <a:pt x="0" y="11"/>
                    </a:moveTo>
                    <a:lnTo>
                      <a:pt x="0" y="11"/>
                    </a:lnTo>
                    <a:lnTo>
                      <a:pt x="82" y="11"/>
                    </a:lnTo>
                    <a:lnTo>
                      <a:pt x="82" y="83"/>
                    </a:lnTo>
                    <a:lnTo>
                      <a:pt x="83" y="83"/>
                    </a:lnTo>
                    <a:cubicBezTo>
                      <a:pt x="117" y="26"/>
                      <a:pt x="164" y="0"/>
                      <a:pt x="234" y="0"/>
                    </a:cubicBezTo>
                    <a:cubicBezTo>
                      <a:pt x="289" y="0"/>
                      <a:pt x="344" y="29"/>
                      <a:pt x="369" y="95"/>
                    </a:cubicBezTo>
                    <a:cubicBezTo>
                      <a:pt x="402" y="25"/>
                      <a:pt x="473" y="0"/>
                      <a:pt x="516" y="0"/>
                    </a:cubicBezTo>
                    <a:cubicBezTo>
                      <a:pt x="637" y="0"/>
                      <a:pt x="681" y="81"/>
                      <a:pt x="681" y="188"/>
                    </a:cubicBezTo>
                    <a:lnTo>
                      <a:pt x="681" y="503"/>
                    </a:lnTo>
                    <a:lnTo>
                      <a:pt x="593" y="503"/>
                    </a:lnTo>
                    <a:lnTo>
                      <a:pt x="593" y="210"/>
                    </a:lnTo>
                    <a:cubicBezTo>
                      <a:pt x="593" y="149"/>
                      <a:pt x="579" y="73"/>
                      <a:pt x="509" y="73"/>
                    </a:cubicBezTo>
                    <a:cubicBezTo>
                      <a:pt x="419" y="73"/>
                      <a:pt x="384" y="164"/>
                      <a:pt x="384" y="255"/>
                    </a:cubicBezTo>
                    <a:lnTo>
                      <a:pt x="384" y="503"/>
                    </a:lnTo>
                    <a:lnTo>
                      <a:pt x="297" y="503"/>
                    </a:lnTo>
                    <a:lnTo>
                      <a:pt x="297" y="210"/>
                    </a:lnTo>
                    <a:cubicBezTo>
                      <a:pt x="297" y="149"/>
                      <a:pt x="282" y="73"/>
                      <a:pt x="212" y="73"/>
                    </a:cubicBezTo>
                    <a:cubicBezTo>
                      <a:pt x="122" y="73"/>
                      <a:pt x="87" y="164"/>
                      <a:pt x="87" y="25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2" name="Freeform 81"/>
              <p:cNvSpPr>
                <a:spLocks noEditPoints="1"/>
              </p:cNvSpPr>
              <p:nvPr/>
            </p:nvSpPr>
            <p:spPr bwMode="gray">
              <a:xfrm>
                <a:off x="8081963" y="1670051"/>
                <a:ext cx="28575" cy="193675"/>
              </a:xfrm>
              <a:custGeom>
                <a:avLst/>
                <a:gdLst>
                  <a:gd name="T0" fmla="*/ 6 w 99"/>
                  <a:gd name="T1" fmla="*/ 212 h 704"/>
                  <a:gd name="T2" fmla="*/ 6 w 99"/>
                  <a:gd name="T3" fmla="*/ 212 h 704"/>
                  <a:gd name="T4" fmla="*/ 93 w 99"/>
                  <a:gd name="T5" fmla="*/ 212 h 704"/>
                  <a:gd name="T6" fmla="*/ 93 w 99"/>
                  <a:gd name="T7" fmla="*/ 704 h 704"/>
                  <a:gd name="T8" fmla="*/ 6 w 99"/>
                  <a:gd name="T9" fmla="*/ 704 h 704"/>
                  <a:gd name="T10" fmla="*/ 6 w 99"/>
                  <a:gd name="T11" fmla="*/ 212 h 704"/>
                  <a:gd name="T12" fmla="*/ 0 w 99"/>
                  <a:gd name="T13" fmla="*/ 0 h 704"/>
                  <a:gd name="T14" fmla="*/ 0 w 99"/>
                  <a:gd name="T15" fmla="*/ 0 h 704"/>
                  <a:gd name="T16" fmla="*/ 99 w 99"/>
                  <a:gd name="T17" fmla="*/ 0 h 704"/>
                  <a:gd name="T18" fmla="*/ 99 w 99"/>
                  <a:gd name="T19" fmla="*/ 103 h 704"/>
                  <a:gd name="T20" fmla="*/ 0 w 99"/>
                  <a:gd name="T21" fmla="*/ 103 h 704"/>
                  <a:gd name="T22" fmla="*/ 0 w 99"/>
                  <a:gd name="T23"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704">
                    <a:moveTo>
                      <a:pt x="6" y="212"/>
                    </a:moveTo>
                    <a:lnTo>
                      <a:pt x="6" y="212"/>
                    </a:lnTo>
                    <a:lnTo>
                      <a:pt x="93" y="212"/>
                    </a:lnTo>
                    <a:lnTo>
                      <a:pt x="93" y="704"/>
                    </a:lnTo>
                    <a:lnTo>
                      <a:pt x="6" y="704"/>
                    </a:lnTo>
                    <a:lnTo>
                      <a:pt x="6" y="212"/>
                    </a:lnTo>
                    <a:close/>
                    <a:moveTo>
                      <a:pt x="0" y="0"/>
                    </a:moveTo>
                    <a:lnTo>
                      <a:pt x="0" y="0"/>
                    </a:lnTo>
                    <a:lnTo>
                      <a:pt x="99" y="0"/>
                    </a:lnTo>
                    <a:lnTo>
                      <a:pt x="99" y="103"/>
                    </a:lnTo>
                    <a:lnTo>
                      <a:pt x="0" y="103"/>
                    </a:lnTo>
                    <a:lnTo>
                      <a:pt x="0"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3" name="Freeform 82"/>
              <p:cNvSpPr>
                <a:spLocks/>
              </p:cNvSpPr>
              <p:nvPr/>
            </p:nvSpPr>
            <p:spPr bwMode="gray">
              <a:xfrm>
                <a:off x="8159750"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3" y="34"/>
                      <a:pt x="176" y="0"/>
                      <a:pt x="242" y="0"/>
                    </a:cubicBezTo>
                    <a:cubicBezTo>
                      <a:pt x="364"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4" name="Freeform 83"/>
              <p:cNvSpPr>
                <a:spLocks noEditPoints="1"/>
              </p:cNvSpPr>
              <p:nvPr/>
            </p:nvSpPr>
            <p:spPr bwMode="gray">
              <a:xfrm>
                <a:off x="8315325" y="1725613"/>
                <a:ext cx="125413" cy="198438"/>
              </a:xfrm>
              <a:custGeom>
                <a:avLst/>
                <a:gdLst>
                  <a:gd name="T0" fmla="*/ 364 w 451"/>
                  <a:gd name="T1" fmla="*/ 263 h 717"/>
                  <a:gd name="T2" fmla="*/ 364 w 451"/>
                  <a:gd name="T3" fmla="*/ 263 h 717"/>
                  <a:gd name="T4" fmla="*/ 225 w 451"/>
                  <a:gd name="T5" fmla="*/ 73 h 717"/>
                  <a:gd name="T6" fmla="*/ 93 w 451"/>
                  <a:gd name="T7" fmla="*/ 256 h 717"/>
                  <a:gd name="T8" fmla="*/ 225 w 451"/>
                  <a:gd name="T9" fmla="*/ 429 h 717"/>
                  <a:gd name="T10" fmla="*/ 364 w 451"/>
                  <a:gd name="T11" fmla="*/ 263 h 717"/>
                  <a:gd name="T12" fmla="*/ 364 w 451"/>
                  <a:gd name="T13" fmla="*/ 263 h 717"/>
                  <a:gd name="T14" fmla="*/ 451 w 451"/>
                  <a:gd name="T15" fmla="*/ 482 h 717"/>
                  <a:gd name="T16" fmla="*/ 451 w 451"/>
                  <a:gd name="T17" fmla="*/ 482 h 717"/>
                  <a:gd name="T18" fmla="*/ 206 w 451"/>
                  <a:gd name="T19" fmla="*/ 717 h 717"/>
                  <a:gd name="T20" fmla="*/ 36 w 451"/>
                  <a:gd name="T21" fmla="*/ 683 h 717"/>
                  <a:gd name="T22" fmla="*/ 46 w 451"/>
                  <a:gd name="T23" fmla="*/ 599 h 717"/>
                  <a:gd name="T24" fmla="*/ 217 w 451"/>
                  <a:gd name="T25" fmla="*/ 643 h 717"/>
                  <a:gd name="T26" fmla="*/ 364 w 451"/>
                  <a:gd name="T27" fmla="*/ 475 h 717"/>
                  <a:gd name="T28" fmla="*/ 364 w 451"/>
                  <a:gd name="T29" fmla="*/ 427 h 717"/>
                  <a:gd name="T30" fmla="*/ 362 w 451"/>
                  <a:gd name="T31" fmla="*/ 427 h 717"/>
                  <a:gd name="T32" fmla="*/ 203 w 451"/>
                  <a:gd name="T33" fmla="*/ 503 h 717"/>
                  <a:gd name="T34" fmla="*/ 0 w 451"/>
                  <a:gd name="T35" fmla="*/ 261 h 717"/>
                  <a:gd name="T36" fmla="*/ 212 w 451"/>
                  <a:gd name="T37" fmla="*/ 0 h 717"/>
                  <a:gd name="T38" fmla="*/ 368 w 451"/>
                  <a:gd name="T39" fmla="*/ 84 h 717"/>
                  <a:gd name="T40" fmla="*/ 370 w 451"/>
                  <a:gd name="T41" fmla="*/ 84 h 717"/>
                  <a:gd name="T42" fmla="*/ 370 w 451"/>
                  <a:gd name="T43" fmla="*/ 11 h 717"/>
                  <a:gd name="T44" fmla="*/ 451 w 451"/>
                  <a:gd name="T45" fmla="*/ 11 h 717"/>
                  <a:gd name="T46" fmla="*/ 451 w 451"/>
                  <a:gd name="T47" fmla="*/ 4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1" h="717">
                    <a:moveTo>
                      <a:pt x="364" y="263"/>
                    </a:moveTo>
                    <a:lnTo>
                      <a:pt x="364" y="263"/>
                    </a:lnTo>
                    <a:cubicBezTo>
                      <a:pt x="364" y="161"/>
                      <a:pt x="318" y="73"/>
                      <a:pt x="225" y="73"/>
                    </a:cubicBezTo>
                    <a:cubicBezTo>
                      <a:pt x="137" y="73"/>
                      <a:pt x="93" y="172"/>
                      <a:pt x="93" y="256"/>
                    </a:cubicBezTo>
                    <a:cubicBezTo>
                      <a:pt x="93" y="349"/>
                      <a:pt x="143" y="429"/>
                      <a:pt x="225" y="429"/>
                    </a:cubicBezTo>
                    <a:cubicBezTo>
                      <a:pt x="307" y="429"/>
                      <a:pt x="364" y="354"/>
                      <a:pt x="364" y="263"/>
                    </a:cubicBezTo>
                    <a:lnTo>
                      <a:pt x="364" y="263"/>
                    </a:lnTo>
                    <a:close/>
                    <a:moveTo>
                      <a:pt x="451" y="482"/>
                    </a:moveTo>
                    <a:lnTo>
                      <a:pt x="451" y="482"/>
                    </a:lnTo>
                    <a:cubicBezTo>
                      <a:pt x="451" y="631"/>
                      <a:pt x="377" y="717"/>
                      <a:pt x="206" y="717"/>
                    </a:cubicBezTo>
                    <a:cubicBezTo>
                      <a:pt x="156" y="717"/>
                      <a:pt x="112" y="710"/>
                      <a:pt x="36" y="683"/>
                    </a:cubicBezTo>
                    <a:lnTo>
                      <a:pt x="46" y="599"/>
                    </a:lnTo>
                    <a:cubicBezTo>
                      <a:pt x="112" y="631"/>
                      <a:pt x="153" y="643"/>
                      <a:pt x="217" y="643"/>
                    </a:cubicBezTo>
                    <a:cubicBezTo>
                      <a:pt x="309" y="643"/>
                      <a:pt x="364" y="579"/>
                      <a:pt x="364" y="475"/>
                    </a:cubicBezTo>
                    <a:lnTo>
                      <a:pt x="364" y="427"/>
                    </a:lnTo>
                    <a:lnTo>
                      <a:pt x="362" y="427"/>
                    </a:lnTo>
                    <a:cubicBezTo>
                      <a:pt x="325" y="478"/>
                      <a:pt x="263" y="503"/>
                      <a:pt x="203" y="503"/>
                    </a:cubicBezTo>
                    <a:cubicBezTo>
                      <a:pt x="67" y="503"/>
                      <a:pt x="0" y="388"/>
                      <a:pt x="0" y="261"/>
                    </a:cubicBezTo>
                    <a:cubicBezTo>
                      <a:pt x="0" y="135"/>
                      <a:pt x="69" y="0"/>
                      <a:pt x="212" y="0"/>
                    </a:cubicBezTo>
                    <a:cubicBezTo>
                      <a:pt x="296" y="0"/>
                      <a:pt x="342" y="32"/>
                      <a:pt x="368" y="84"/>
                    </a:cubicBezTo>
                    <a:lnTo>
                      <a:pt x="370" y="84"/>
                    </a:lnTo>
                    <a:lnTo>
                      <a:pt x="370" y="11"/>
                    </a:lnTo>
                    <a:lnTo>
                      <a:pt x="451" y="11"/>
                    </a:lnTo>
                    <a:lnTo>
                      <a:pt x="451"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5" name="Freeform 84"/>
              <p:cNvSpPr>
                <a:spLocks noEditPoints="1"/>
              </p:cNvSpPr>
              <p:nvPr/>
            </p:nvSpPr>
            <p:spPr bwMode="gray">
              <a:xfrm>
                <a:off x="8548688" y="1677988"/>
                <a:ext cx="180975" cy="185738"/>
              </a:xfrm>
              <a:custGeom>
                <a:avLst/>
                <a:gdLst>
                  <a:gd name="T0" fmla="*/ 323 w 649"/>
                  <a:gd name="T1" fmla="*/ 91 h 673"/>
                  <a:gd name="T2" fmla="*/ 323 w 649"/>
                  <a:gd name="T3" fmla="*/ 91 h 673"/>
                  <a:gd name="T4" fmla="*/ 193 w 649"/>
                  <a:gd name="T5" fmla="*/ 424 h 673"/>
                  <a:gd name="T6" fmla="*/ 452 w 649"/>
                  <a:gd name="T7" fmla="*/ 424 h 673"/>
                  <a:gd name="T8" fmla="*/ 323 w 649"/>
                  <a:gd name="T9" fmla="*/ 91 h 673"/>
                  <a:gd name="T10" fmla="*/ 323 w 649"/>
                  <a:gd name="T11" fmla="*/ 91 h 673"/>
                  <a:gd name="T12" fmla="*/ 277 w 649"/>
                  <a:gd name="T13" fmla="*/ 0 h 673"/>
                  <a:gd name="T14" fmla="*/ 277 w 649"/>
                  <a:gd name="T15" fmla="*/ 0 h 673"/>
                  <a:gd name="T16" fmla="*/ 375 w 649"/>
                  <a:gd name="T17" fmla="*/ 0 h 673"/>
                  <a:gd name="T18" fmla="*/ 649 w 649"/>
                  <a:gd name="T19" fmla="*/ 673 h 673"/>
                  <a:gd name="T20" fmla="*/ 548 w 649"/>
                  <a:gd name="T21" fmla="*/ 673 h 673"/>
                  <a:gd name="T22" fmla="*/ 482 w 649"/>
                  <a:gd name="T23" fmla="*/ 503 h 673"/>
                  <a:gd name="T24" fmla="*/ 164 w 649"/>
                  <a:gd name="T25" fmla="*/ 503 h 673"/>
                  <a:gd name="T26" fmla="*/ 98 w 649"/>
                  <a:gd name="T27" fmla="*/ 673 h 673"/>
                  <a:gd name="T28" fmla="*/ 0 w 649"/>
                  <a:gd name="T29" fmla="*/ 673 h 673"/>
                  <a:gd name="T30" fmla="*/ 277 w 649"/>
                  <a:gd name="T31"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 h="673">
                    <a:moveTo>
                      <a:pt x="323" y="91"/>
                    </a:moveTo>
                    <a:lnTo>
                      <a:pt x="323" y="91"/>
                    </a:lnTo>
                    <a:lnTo>
                      <a:pt x="193" y="424"/>
                    </a:lnTo>
                    <a:lnTo>
                      <a:pt x="452" y="424"/>
                    </a:lnTo>
                    <a:lnTo>
                      <a:pt x="323" y="91"/>
                    </a:lnTo>
                    <a:lnTo>
                      <a:pt x="323" y="91"/>
                    </a:lnTo>
                    <a:close/>
                    <a:moveTo>
                      <a:pt x="277" y="0"/>
                    </a:moveTo>
                    <a:lnTo>
                      <a:pt x="277" y="0"/>
                    </a:lnTo>
                    <a:lnTo>
                      <a:pt x="375" y="0"/>
                    </a:lnTo>
                    <a:lnTo>
                      <a:pt x="649" y="673"/>
                    </a:lnTo>
                    <a:lnTo>
                      <a:pt x="548" y="673"/>
                    </a:lnTo>
                    <a:lnTo>
                      <a:pt x="482" y="503"/>
                    </a:lnTo>
                    <a:lnTo>
                      <a:pt x="164" y="503"/>
                    </a:lnTo>
                    <a:lnTo>
                      <a:pt x="98" y="673"/>
                    </a:lnTo>
                    <a:lnTo>
                      <a:pt x="0" y="673"/>
                    </a:lnTo>
                    <a:lnTo>
                      <a:pt x="277"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6" name="Freeform 85"/>
              <p:cNvSpPr>
                <a:spLocks/>
              </p:cNvSpPr>
              <p:nvPr/>
            </p:nvSpPr>
            <p:spPr bwMode="gray">
              <a:xfrm>
                <a:off x="8747125" y="1725613"/>
                <a:ext cx="82550" cy="141288"/>
              </a:xfrm>
              <a:custGeom>
                <a:avLst/>
                <a:gdLst>
                  <a:gd name="T0" fmla="*/ 8 w 299"/>
                  <a:gd name="T1" fmla="*/ 406 h 514"/>
                  <a:gd name="T2" fmla="*/ 8 w 299"/>
                  <a:gd name="T3" fmla="*/ 406 h 514"/>
                  <a:gd name="T4" fmla="*/ 116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1" y="441"/>
                      <a:pt x="116" y="441"/>
                    </a:cubicBezTo>
                    <a:cubicBezTo>
                      <a:pt x="157" y="441"/>
                      <a:pt x="206" y="424"/>
                      <a:pt x="206" y="371"/>
                    </a:cubicBezTo>
                    <a:cubicBezTo>
                      <a:pt x="206" y="281"/>
                      <a:pt x="0" y="289"/>
                      <a:pt x="0" y="151"/>
                    </a:cubicBezTo>
                    <a:cubicBezTo>
                      <a:pt x="0" y="49"/>
                      <a:pt x="74" y="0"/>
                      <a:pt x="168" y="0"/>
                    </a:cubicBezTo>
                    <a:cubicBezTo>
                      <a:pt x="208"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7" name="Freeform 86"/>
              <p:cNvSpPr>
                <a:spLocks/>
              </p:cNvSpPr>
              <p:nvPr/>
            </p:nvSpPr>
            <p:spPr bwMode="gray">
              <a:xfrm>
                <a:off x="8853488" y="1725613"/>
                <a:ext cx="84138" cy="141288"/>
              </a:xfrm>
              <a:custGeom>
                <a:avLst/>
                <a:gdLst>
                  <a:gd name="T0" fmla="*/ 8 w 299"/>
                  <a:gd name="T1" fmla="*/ 406 h 514"/>
                  <a:gd name="T2" fmla="*/ 8 w 299"/>
                  <a:gd name="T3" fmla="*/ 406 h 514"/>
                  <a:gd name="T4" fmla="*/ 117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2" y="441"/>
                      <a:pt x="117" y="441"/>
                    </a:cubicBezTo>
                    <a:cubicBezTo>
                      <a:pt x="156" y="441"/>
                      <a:pt x="206" y="424"/>
                      <a:pt x="206" y="371"/>
                    </a:cubicBezTo>
                    <a:cubicBezTo>
                      <a:pt x="206" y="281"/>
                      <a:pt x="0" y="289"/>
                      <a:pt x="0" y="151"/>
                    </a:cubicBezTo>
                    <a:cubicBezTo>
                      <a:pt x="0" y="49"/>
                      <a:pt x="74" y="0"/>
                      <a:pt x="168" y="0"/>
                    </a:cubicBezTo>
                    <a:cubicBezTo>
                      <a:pt x="209"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8" name="Freeform 87"/>
              <p:cNvSpPr>
                <a:spLocks/>
              </p:cNvSpPr>
              <p:nvPr/>
            </p:nvSpPr>
            <p:spPr bwMode="gray">
              <a:xfrm>
                <a:off x="8972550" y="1728788"/>
                <a:ext cx="117475" cy="138113"/>
              </a:xfrm>
              <a:custGeom>
                <a:avLst/>
                <a:gdLst>
                  <a:gd name="T0" fmla="*/ 420 w 420"/>
                  <a:gd name="T1" fmla="*/ 492 h 503"/>
                  <a:gd name="T2" fmla="*/ 420 w 420"/>
                  <a:gd name="T3" fmla="*/ 492 h 503"/>
                  <a:gd name="T4" fmla="*/ 335 w 420"/>
                  <a:gd name="T5" fmla="*/ 492 h 503"/>
                  <a:gd name="T6" fmla="*/ 335 w 420"/>
                  <a:gd name="T7" fmla="*/ 414 h 503"/>
                  <a:gd name="T8" fmla="*/ 333 w 420"/>
                  <a:gd name="T9" fmla="*/ 414 h 503"/>
                  <a:gd name="T10" fmla="*/ 178 w 420"/>
                  <a:gd name="T11" fmla="*/ 503 h 503"/>
                  <a:gd name="T12" fmla="*/ 0 w 420"/>
                  <a:gd name="T13" fmla="*/ 292 h 503"/>
                  <a:gd name="T14" fmla="*/ 0 w 420"/>
                  <a:gd name="T15" fmla="*/ 0 h 503"/>
                  <a:gd name="T16" fmla="*/ 88 w 420"/>
                  <a:gd name="T17" fmla="*/ 0 h 503"/>
                  <a:gd name="T18" fmla="*/ 88 w 420"/>
                  <a:gd name="T19" fmla="*/ 255 h 503"/>
                  <a:gd name="T20" fmla="*/ 188 w 420"/>
                  <a:gd name="T21" fmla="*/ 430 h 503"/>
                  <a:gd name="T22" fmla="*/ 332 w 420"/>
                  <a:gd name="T23" fmla="*/ 228 h 503"/>
                  <a:gd name="T24" fmla="*/ 332 w 420"/>
                  <a:gd name="T25" fmla="*/ 0 h 503"/>
                  <a:gd name="T26" fmla="*/ 420 w 420"/>
                  <a:gd name="T27" fmla="*/ 0 h 503"/>
                  <a:gd name="T28" fmla="*/ 420 w 420"/>
                  <a:gd name="T29" fmla="*/ 49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03">
                    <a:moveTo>
                      <a:pt x="420" y="492"/>
                    </a:moveTo>
                    <a:lnTo>
                      <a:pt x="420" y="492"/>
                    </a:lnTo>
                    <a:lnTo>
                      <a:pt x="335" y="492"/>
                    </a:lnTo>
                    <a:lnTo>
                      <a:pt x="335" y="414"/>
                    </a:lnTo>
                    <a:lnTo>
                      <a:pt x="333" y="414"/>
                    </a:lnTo>
                    <a:cubicBezTo>
                      <a:pt x="307" y="469"/>
                      <a:pt x="244" y="503"/>
                      <a:pt x="178" y="503"/>
                    </a:cubicBezTo>
                    <a:cubicBezTo>
                      <a:pt x="55" y="503"/>
                      <a:pt x="0" y="424"/>
                      <a:pt x="0" y="292"/>
                    </a:cubicBezTo>
                    <a:lnTo>
                      <a:pt x="0" y="0"/>
                    </a:lnTo>
                    <a:lnTo>
                      <a:pt x="88" y="0"/>
                    </a:lnTo>
                    <a:lnTo>
                      <a:pt x="88" y="255"/>
                    </a:lnTo>
                    <a:cubicBezTo>
                      <a:pt x="88" y="369"/>
                      <a:pt x="112" y="425"/>
                      <a:pt x="188" y="430"/>
                    </a:cubicBezTo>
                    <a:cubicBezTo>
                      <a:pt x="288" y="430"/>
                      <a:pt x="332" y="347"/>
                      <a:pt x="332" y="228"/>
                    </a:cubicBezTo>
                    <a:lnTo>
                      <a:pt x="332" y="0"/>
                    </a:lnTo>
                    <a:lnTo>
                      <a:pt x="420" y="0"/>
                    </a:lnTo>
                    <a:lnTo>
                      <a:pt x="420" y="49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9" name="Freeform 88"/>
              <p:cNvSpPr>
                <a:spLocks/>
              </p:cNvSpPr>
              <p:nvPr/>
            </p:nvSpPr>
            <p:spPr bwMode="gray">
              <a:xfrm>
                <a:off x="9137650"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7 w 265"/>
                  <a:gd name="T11" fmla="*/ 0 h 503"/>
                  <a:gd name="T12" fmla="*/ 265 w 265"/>
                  <a:gd name="T13" fmla="*/ 7 h 503"/>
                  <a:gd name="T14" fmla="*/ 265 w 265"/>
                  <a:gd name="T15" fmla="*/ 87 h 503"/>
                  <a:gd name="T16" fmla="*/ 217 w 265"/>
                  <a:gd name="T17" fmla="*/ 79 h 503"/>
                  <a:gd name="T18" fmla="*/ 87 w 265"/>
                  <a:gd name="T19" fmla="*/ 279 h 503"/>
                  <a:gd name="T20" fmla="*/ 87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7" y="0"/>
                    </a:cubicBezTo>
                    <a:cubicBezTo>
                      <a:pt x="234" y="0"/>
                      <a:pt x="247" y="3"/>
                      <a:pt x="265" y="7"/>
                    </a:cubicBezTo>
                    <a:lnTo>
                      <a:pt x="265" y="87"/>
                    </a:lnTo>
                    <a:cubicBezTo>
                      <a:pt x="249" y="81"/>
                      <a:pt x="231" y="79"/>
                      <a:pt x="217" y="79"/>
                    </a:cubicBezTo>
                    <a:cubicBezTo>
                      <a:pt x="139" y="79"/>
                      <a:pt x="87" y="156"/>
                      <a:pt x="87" y="279"/>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0" name="Freeform 89"/>
              <p:cNvSpPr>
                <a:spLocks noEditPoints="1"/>
              </p:cNvSpPr>
              <p:nvPr/>
            </p:nvSpPr>
            <p:spPr bwMode="gray">
              <a:xfrm>
                <a:off x="9236075" y="1725613"/>
                <a:ext cx="111125" cy="141288"/>
              </a:xfrm>
              <a:custGeom>
                <a:avLst/>
                <a:gdLst>
                  <a:gd name="T0" fmla="*/ 314 w 405"/>
                  <a:gd name="T1" fmla="*/ 269 h 514"/>
                  <a:gd name="T2" fmla="*/ 314 w 405"/>
                  <a:gd name="T3" fmla="*/ 269 h 514"/>
                  <a:gd name="T4" fmla="*/ 258 w 405"/>
                  <a:gd name="T5" fmla="*/ 267 h 514"/>
                  <a:gd name="T6" fmla="*/ 94 w 405"/>
                  <a:gd name="T7" fmla="*/ 361 h 514"/>
                  <a:gd name="T8" fmla="*/ 182 w 405"/>
                  <a:gd name="T9" fmla="*/ 441 h 514"/>
                  <a:gd name="T10" fmla="*/ 314 w 405"/>
                  <a:gd name="T11" fmla="*/ 312 h 514"/>
                  <a:gd name="T12" fmla="*/ 314 w 405"/>
                  <a:gd name="T13" fmla="*/ 269 h 514"/>
                  <a:gd name="T14" fmla="*/ 314 w 405"/>
                  <a:gd name="T15" fmla="*/ 269 h 514"/>
                  <a:gd name="T16" fmla="*/ 54 w 405"/>
                  <a:gd name="T17" fmla="*/ 46 h 514"/>
                  <a:gd name="T18" fmla="*/ 54 w 405"/>
                  <a:gd name="T19" fmla="*/ 46 h 514"/>
                  <a:gd name="T20" fmla="*/ 211 w 405"/>
                  <a:gd name="T21" fmla="*/ 0 h 514"/>
                  <a:gd name="T22" fmla="*/ 401 w 405"/>
                  <a:gd name="T23" fmla="*/ 203 h 514"/>
                  <a:gd name="T24" fmla="*/ 401 w 405"/>
                  <a:gd name="T25" fmla="*/ 406 h 514"/>
                  <a:gd name="T26" fmla="*/ 405 w 405"/>
                  <a:gd name="T27" fmla="*/ 503 h 514"/>
                  <a:gd name="T28" fmla="*/ 323 w 405"/>
                  <a:gd name="T29" fmla="*/ 503 h 514"/>
                  <a:gd name="T30" fmla="*/ 323 w 405"/>
                  <a:gd name="T31" fmla="*/ 439 h 514"/>
                  <a:gd name="T32" fmla="*/ 321 w 405"/>
                  <a:gd name="T33" fmla="*/ 439 h 514"/>
                  <a:gd name="T34" fmla="*/ 174 w 405"/>
                  <a:gd name="T35" fmla="*/ 514 h 514"/>
                  <a:gd name="T36" fmla="*/ 0 w 405"/>
                  <a:gd name="T37" fmla="*/ 361 h 514"/>
                  <a:gd name="T38" fmla="*/ 221 w 405"/>
                  <a:gd name="T39" fmla="*/ 199 h 514"/>
                  <a:gd name="T40" fmla="*/ 314 w 405"/>
                  <a:gd name="T41" fmla="*/ 201 h 514"/>
                  <a:gd name="T42" fmla="*/ 197 w 405"/>
                  <a:gd name="T43" fmla="*/ 73 h 514"/>
                  <a:gd name="T44" fmla="*/ 59 w 405"/>
                  <a:gd name="T45" fmla="*/ 123 h 514"/>
                  <a:gd name="T46" fmla="*/ 54 w 405"/>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5" h="514">
                    <a:moveTo>
                      <a:pt x="314" y="269"/>
                    </a:moveTo>
                    <a:lnTo>
                      <a:pt x="314" y="269"/>
                    </a:lnTo>
                    <a:cubicBezTo>
                      <a:pt x="295" y="269"/>
                      <a:pt x="277" y="267"/>
                      <a:pt x="258" y="267"/>
                    </a:cubicBezTo>
                    <a:cubicBezTo>
                      <a:pt x="211" y="267"/>
                      <a:pt x="94" y="275"/>
                      <a:pt x="94" y="361"/>
                    </a:cubicBezTo>
                    <a:cubicBezTo>
                      <a:pt x="94" y="413"/>
                      <a:pt x="142" y="441"/>
                      <a:pt x="182" y="441"/>
                    </a:cubicBezTo>
                    <a:cubicBezTo>
                      <a:pt x="268" y="441"/>
                      <a:pt x="314" y="385"/>
                      <a:pt x="314" y="312"/>
                    </a:cubicBezTo>
                    <a:lnTo>
                      <a:pt x="314" y="269"/>
                    </a:lnTo>
                    <a:lnTo>
                      <a:pt x="314" y="269"/>
                    </a:lnTo>
                    <a:close/>
                    <a:moveTo>
                      <a:pt x="54" y="46"/>
                    </a:moveTo>
                    <a:lnTo>
                      <a:pt x="54" y="46"/>
                    </a:lnTo>
                    <a:cubicBezTo>
                      <a:pt x="98" y="19"/>
                      <a:pt x="150" y="0"/>
                      <a:pt x="211" y="0"/>
                    </a:cubicBezTo>
                    <a:cubicBezTo>
                      <a:pt x="346" y="0"/>
                      <a:pt x="401" y="69"/>
                      <a:pt x="401" y="203"/>
                    </a:cubicBezTo>
                    <a:lnTo>
                      <a:pt x="401" y="406"/>
                    </a:lnTo>
                    <a:cubicBezTo>
                      <a:pt x="401" y="462"/>
                      <a:pt x="403" y="488"/>
                      <a:pt x="405" y="503"/>
                    </a:cubicBezTo>
                    <a:lnTo>
                      <a:pt x="323" y="503"/>
                    </a:lnTo>
                    <a:lnTo>
                      <a:pt x="323" y="439"/>
                    </a:lnTo>
                    <a:lnTo>
                      <a:pt x="321" y="439"/>
                    </a:lnTo>
                    <a:cubicBezTo>
                      <a:pt x="301" y="469"/>
                      <a:pt x="255" y="514"/>
                      <a:pt x="174" y="514"/>
                    </a:cubicBezTo>
                    <a:cubicBezTo>
                      <a:pt x="72" y="514"/>
                      <a:pt x="0" y="468"/>
                      <a:pt x="0" y="361"/>
                    </a:cubicBezTo>
                    <a:cubicBezTo>
                      <a:pt x="0" y="238"/>
                      <a:pt x="131" y="199"/>
                      <a:pt x="221" y="199"/>
                    </a:cubicBezTo>
                    <a:cubicBezTo>
                      <a:pt x="255" y="199"/>
                      <a:pt x="280" y="199"/>
                      <a:pt x="314" y="201"/>
                    </a:cubicBezTo>
                    <a:cubicBezTo>
                      <a:pt x="314" y="116"/>
                      <a:pt x="284" y="73"/>
                      <a:pt x="197" y="73"/>
                    </a:cubicBezTo>
                    <a:cubicBezTo>
                      <a:pt x="147" y="73"/>
                      <a:pt x="94" y="92"/>
                      <a:pt x="59"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1" name="Freeform 90"/>
              <p:cNvSpPr>
                <a:spLocks/>
              </p:cNvSpPr>
              <p:nvPr/>
            </p:nvSpPr>
            <p:spPr bwMode="gray">
              <a:xfrm>
                <a:off x="9394825"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2" y="34"/>
                      <a:pt x="175" y="0"/>
                      <a:pt x="242" y="0"/>
                    </a:cubicBezTo>
                    <a:cubicBezTo>
                      <a:pt x="364" y="0"/>
                      <a:pt x="419" y="79"/>
                      <a:pt x="419" y="211"/>
                    </a:cubicBezTo>
                    <a:lnTo>
                      <a:pt x="419" y="503"/>
                    </a:lnTo>
                    <a:lnTo>
                      <a:pt x="332" y="503"/>
                    </a:lnTo>
                    <a:lnTo>
                      <a:pt x="332" y="249"/>
                    </a:lnTo>
                    <a:cubicBezTo>
                      <a:pt x="332" y="134"/>
                      <a:pt x="307"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2" name="Freeform 91"/>
              <p:cNvSpPr>
                <a:spLocks/>
              </p:cNvSpPr>
              <p:nvPr/>
            </p:nvSpPr>
            <p:spPr bwMode="gray">
              <a:xfrm>
                <a:off x="9547225" y="1725613"/>
                <a:ext cx="98425" cy="141288"/>
              </a:xfrm>
              <a:custGeom>
                <a:avLst/>
                <a:gdLst>
                  <a:gd name="T0" fmla="*/ 340 w 352"/>
                  <a:gd name="T1" fmla="*/ 94 h 514"/>
                  <a:gd name="T2" fmla="*/ 340 w 352"/>
                  <a:gd name="T3" fmla="*/ 94 h 514"/>
                  <a:gd name="T4" fmla="*/ 246 w 352"/>
                  <a:gd name="T5" fmla="*/ 73 h 514"/>
                  <a:gd name="T6" fmla="*/ 93 w 352"/>
                  <a:gd name="T7" fmla="*/ 257 h 514"/>
                  <a:gd name="T8" fmla="*/ 251 w 352"/>
                  <a:gd name="T9" fmla="*/ 441 h 514"/>
                  <a:gd name="T10" fmla="*/ 345 w 352"/>
                  <a:gd name="T11" fmla="*/ 413 h 514"/>
                  <a:gd name="T12" fmla="*/ 352 w 352"/>
                  <a:gd name="T13" fmla="*/ 494 h 514"/>
                  <a:gd name="T14" fmla="*/ 242 w 352"/>
                  <a:gd name="T15" fmla="*/ 514 h 514"/>
                  <a:gd name="T16" fmla="*/ 0 w 352"/>
                  <a:gd name="T17" fmla="*/ 257 h 514"/>
                  <a:gd name="T18" fmla="*/ 242 w 352"/>
                  <a:gd name="T19" fmla="*/ 0 h 514"/>
                  <a:gd name="T20" fmla="*/ 348 w 352"/>
                  <a:gd name="T21" fmla="*/ 19 h 514"/>
                  <a:gd name="T22" fmla="*/ 340 w 352"/>
                  <a:gd name="T23" fmla="*/ 9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514">
                    <a:moveTo>
                      <a:pt x="340" y="94"/>
                    </a:moveTo>
                    <a:lnTo>
                      <a:pt x="340" y="94"/>
                    </a:lnTo>
                    <a:cubicBezTo>
                      <a:pt x="307" y="80"/>
                      <a:pt x="274" y="73"/>
                      <a:pt x="246" y="73"/>
                    </a:cubicBezTo>
                    <a:cubicBezTo>
                      <a:pt x="148" y="73"/>
                      <a:pt x="93" y="164"/>
                      <a:pt x="93" y="257"/>
                    </a:cubicBezTo>
                    <a:cubicBezTo>
                      <a:pt x="93" y="345"/>
                      <a:pt x="139" y="441"/>
                      <a:pt x="251" y="441"/>
                    </a:cubicBezTo>
                    <a:cubicBezTo>
                      <a:pt x="281" y="441"/>
                      <a:pt x="318" y="431"/>
                      <a:pt x="345" y="413"/>
                    </a:cubicBezTo>
                    <a:lnTo>
                      <a:pt x="352" y="494"/>
                    </a:lnTo>
                    <a:cubicBezTo>
                      <a:pt x="315" y="511"/>
                      <a:pt x="274" y="514"/>
                      <a:pt x="242" y="514"/>
                    </a:cubicBezTo>
                    <a:cubicBezTo>
                      <a:pt x="99" y="514"/>
                      <a:pt x="0" y="397"/>
                      <a:pt x="0" y="257"/>
                    </a:cubicBezTo>
                    <a:cubicBezTo>
                      <a:pt x="0" y="108"/>
                      <a:pt x="97" y="0"/>
                      <a:pt x="242" y="0"/>
                    </a:cubicBezTo>
                    <a:cubicBezTo>
                      <a:pt x="277" y="0"/>
                      <a:pt x="323" y="8"/>
                      <a:pt x="348" y="19"/>
                    </a:cubicBezTo>
                    <a:lnTo>
                      <a:pt x="340" y="94"/>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3" name="Freeform 92"/>
              <p:cNvSpPr>
                <a:spLocks noEditPoints="1"/>
              </p:cNvSpPr>
              <p:nvPr/>
            </p:nvSpPr>
            <p:spPr bwMode="gray">
              <a:xfrm>
                <a:off x="9671050" y="1725613"/>
                <a:ext cx="119063" cy="141288"/>
              </a:xfrm>
              <a:custGeom>
                <a:avLst/>
                <a:gdLst>
                  <a:gd name="T0" fmla="*/ 338 w 431"/>
                  <a:gd name="T1" fmla="*/ 210 h 514"/>
                  <a:gd name="T2" fmla="*/ 338 w 431"/>
                  <a:gd name="T3" fmla="*/ 210 h 514"/>
                  <a:gd name="T4" fmla="*/ 220 w 431"/>
                  <a:gd name="T5" fmla="*/ 73 h 514"/>
                  <a:gd name="T6" fmla="*/ 93 w 431"/>
                  <a:gd name="T7" fmla="*/ 210 h 514"/>
                  <a:gd name="T8" fmla="*/ 338 w 431"/>
                  <a:gd name="T9" fmla="*/ 210 h 514"/>
                  <a:gd name="T10" fmla="*/ 338 w 431"/>
                  <a:gd name="T11" fmla="*/ 210 h 514"/>
                  <a:gd name="T12" fmla="*/ 395 w 431"/>
                  <a:gd name="T13" fmla="*/ 482 h 514"/>
                  <a:gd name="T14" fmla="*/ 395 w 431"/>
                  <a:gd name="T15" fmla="*/ 482 h 514"/>
                  <a:gd name="T16" fmla="*/ 245 w 431"/>
                  <a:gd name="T17" fmla="*/ 514 h 514"/>
                  <a:gd name="T18" fmla="*/ 0 w 431"/>
                  <a:gd name="T19" fmla="*/ 249 h 514"/>
                  <a:gd name="T20" fmla="*/ 222 w 431"/>
                  <a:gd name="T21" fmla="*/ 0 h 514"/>
                  <a:gd name="T22" fmla="*/ 431 w 431"/>
                  <a:gd name="T23" fmla="*/ 277 h 514"/>
                  <a:gd name="T24" fmla="*/ 93 w 431"/>
                  <a:gd name="T25" fmla="*/ 277 h 514"/>
                  <a:gd name="T26" fmla="*/ 249 w 431"/>
                  <a:gd name="T27" fmla="*/ 441 h 514"/>
                  <a:gd name="T28" fmla="*/ 395 w 431"/>
                  <a:gd name="T29" fmla="*/ 392 h 514"/>
                  <a:gd name="T30" fmla="*/ 395 w 431"/>
                  <a:gd name="T31" fmla="*/ 48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514">
                    <a:moveTo>
                      <a:pt x="338" y="210"/>
                    </a:moveTo>
                    <a:lnTo>
                      <a:pt x="338" y="210"/>
                    </a:lnTo>
                    <a:cubicBezTo>
                      <a:pt x="338" y="135"/>
                      <a:pt x="296" y="73"/>
                      <a:pt x="220" y="73"/>
                    </a:cubicBezTo>
                    <a:cubicBezTo>
                      <a:pt x="135" y="73"/>
                      <a:pt x="99" y="146"/>
                      <a:pt x="93" y="210"/>
                    </a:cubicBezTo>
                    <a:lnTo>
                      <a:pt x="338" y="210"/>
                    </a:lnTo>
                    <a:lnTo>
                      <a:pt x="338" y="210"/>
                    </a:lnTo>
                    <a:close/>
                    <a:moveTo>
                      <a:pt x="395" y="482"/>
                    </a:moveTo>
                    <a:lnTo>
                      <a:pt x="395" y="482"/>
                    </a:lnTo>
                    <a:cubicBezTo>
                      <a:pt x="362" y="495"/>
                      <a:pt x="324" y="514"/>
                      <a:pt x="245" y="514"/>
                    </a:cubicBezTo>
                    <a:cubicBezTo>
                      <a:pt x="77" y="514"/>
                      <a:pt x="0" y="408"/>
                      <a:pt x="0" y="249"/>
                    </a:cubicBezTo>
                    <a:cubicBezTo>
                      <a:pt x="0" y="103"/>
                      <a:pt x="88" y="0"/>
                      <a:pt x="222" y="0"/>
                    </a:cubicBezTo>
                    <a:cubicBezTo>
                      <a:pt x="380" y="0"/>
                      <a:pt x="431" y="119"/>
                      <a:pt x="431" y="277"/>
                    </a:cubicBezTo>
                    <a:lnTo>
                      <a:pt x="93" y="277"/>
                    </a:lnTo>
                    <a:cubicBezTo>
                      <a:pt x="93" y="375"/>
                      <a:pt x="166" y="441"/>
                      <a:pt x="249" y="441"/>
                    </a:cubicBezTo>
                    <a:cubicBezTo>
                      <a:pt x="307" y="441"/>
                      <a:pt x="374" y="410"/>
                      <a:pt x="395" y="392"/>
                    </a:cubicBezTo>
                    <a:lnTo>
                      <a:pt x="395"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4" name="Freeform 93"/>
              <p:cNvSpPr>
                <a:spLocks/>
              </p:cNvSpPr>
              <p:nvPr/>
            </p:nvSpPr>
            <p:spPr bwMode="gray">
              <a:xfrm>
                <a:off x="9242425" y="1031876"/>
                <a:ext cx="287338" cy="47942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5" name="Freeform 94"/>
              <p:cNvSpPr>
                <a:spLocks/>
              </p:cNvSpPr>
              <p:nvPr/>
            </p:nvSpPr>
            <p:spPr bwMode="gray">
              <a:xfrm>
                <a:off x="8255000" y="1031876"/>
                <a:ext cx="592138" cy="47942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6" name="Freeform 28"/>
              <p:cNvSpPr>
                <a:spLocks/>
              </p:cNvSpPr>
              <p:nvPr/>
            </p:nvSpPr>
            <p:spPr bwMode="gray">
              <a:xfrm>
                <a:off x="9478963" y="995363"/>
                <a:ext cx="725488" cy="539750"/>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7" name="Freeform 29"/>
              <p:cNvSpPr>
                <a:spLocks/>
              </p:cNvSpPr>
              <p:nvPr/>
            </p:nvSpPr>
            <p:spPr bwMode="gray">
              <a:xfrm>
                <a:off x="7877175" y="746126"/>
                <a:ext cx="403225" cy="550863"/>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8" name="Freeform 30"/>
              <p:cNvSpPr>
                <a:spLocks/>
              </p:cNvSpPr>
              <p:nvPr/>
            </p:nvSpPr>
            <p:spPr bwMode="gray">
              <a:xfrm>
                <a:off x="7699375" y="515938"/>
                <a:ext cx="731838" cy="4905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9" name="Freeform 31"/>
              <p:cNvSpPr>
                <a:spLocks/>
              </p:cNvSpPr>
              <p:nvPr/>
            </p:nvSpPr>
            <p:spPr bwMode="gray">
              <a:xfrm>
                <a:off x="7821613" y="1039813"/>
                <a:ext cx="598488" cy="473075"/>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0" name="Freeform 32"/>
              <p:cNvSpPr>
                <a:spLocks noEditPoints="1"/>
              </p:cNvSpPr>
              <p:nvPr/>
            </p:nvSpPr>
            <p:spPr bwMode="gray">
              <a:xfrm>
                <a:off x="6391275" y="1009651"/>
                <a:ext cx="1457325" cy="520700"/>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1" name="Freeform 33"/>
              <p:cNvSpPr>
                <a:spLocks noEditPoints="1"/>
              </p:cNvSpPr>
              <p:nvPr/>
            </p:nvSpPr>
            <p:spPr bwMode="gray">
              <a:xfrm>
                <a:off x="8720138" y="1030288"/>
                <a:ext cx="620713" cy="481013"/>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38" name="TextBox 37"/>
            <p:cNvSpPr txBox="1"/>
            <p:nvPr/>
          </p:nvSpPr>
          <p:spPr bwMode="gray">
            <a:xfrm>
              <a:off x="3187895" y="3833979"/>
              <a:ext cx="5816209" cy="840230"/>
            </a:xfrm>
            <a:prstGeom prst="rect">
              <a:avLst/>
            </a:prstGeom>
            <a:noFill/>
          </p:spPr>
          <p:txBody>
            <a:bodyPr wrap="square" lIns="0" tIns="0" rIns="0" bIns="0">
              <a:spAutoFit/>
            </a:bodyPr>
            <a:lstStyle/>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COPYRIGHT © </a:t>
              </a:r>
              <a:r>
                <a:rPr lang="en-US" sz="1050" dirty="0" smtClean="0">
                  <a:solidFill>
                    <a:prstClr val="white"/>
                  </a:solidFill>
                  <a:latin typeface="+mj-lt"/>
                </a:rPr>
                <a:t>2016. </a:t>
              </a:r>
              <a:r>
                <a:rPr lang="en-US" sz="1050" dirty="0">
                  <a:solidFill>
                    <a:prstClr val="white"/>
                  </a:solidFill>
                  <a:latin typeface="+mj-lt"/>
                </a:rPr>
                <a:t>ALL RIGHTS PROTECTED AND RESERVED.</a:t>
              </a:r>
            </a:p>
            <a:p>
              <a:pPr algn="ctr" defTabSz="914400" eaLnBrk="1" fontAlgn="auto" hangingPunct="1">
                <a:spcBef>
                  <a:spcPct val="20000"/>
                </a:spcBef>
                <a:spcAft>
                  <a:spcPts val="0"/>
                </a:spcAft>
                <a:buFont typeface="Arial" pitchFamily="34" charset="0"/>
                <a:buNone/>
                <a:defRPr/>
              </a:pPr>
              <a:r>
                <a:rPr lang="en-US" sz="1050" dirty="0" smtClean="0">
                  <a:solidFill>
                    <a:prstClr val="white"/>
                  </a:solidFill>
                  <a:latin typeface="+mj-lt"/>
                </a:rPr>
                <a:t>The </a:t>
              </a:r>
              <a:r>
                <a:rPr lang="en-US" sz="1050" dirty="0">
                  <a:solidFill>
                    <a:prstClr val="white"/>
                  </a:solidFill>
                  <a:latin typeface="+mj-lt"/>
                </a:rPr>
                <a:t>information contained in this document, much of which is confidential to </a:t>
              </a:r>
              <a:r>
                <a:rPr lang="en-US" sz="1050" dirty="0" smtClean="0">
                  <a:solidFill>
                    <a:prstClr val="white"/>
                  </a:solidFill>
                  <a:latin typeface="+mj-lt"/>
                </a:rPr>
                <a:t>Maveric Systems, </a:t>
              </a:r>
              <a:r>
                <a:rPr lang="en-US" sz="1050" dirty="0">
                  <a:solidFill>
                    <a:prstClr val="white"/>
                  </a:solidFill>
                  <a:latin typeface="+mj-lt"/>
                </a:rPr>
                <a:t>is for the sole use of the intended recipients. No part of this document may be reproduced in any form or by any means, electronic, mechanical, photocopying, recording, or otherwise, without the prior written permission of </a:t>
              </a:r>
              <a:r>
                <a:rPr lang="en-US" sz="1050" dirty="0" smtClean="0">
                  <a:solidFill>
                    <a:prstClr val="white"/>
                  </a:solidFill>
                  <a:latin typeface="+mj-lt"/>
                </a:rPr>
                <a:t>Maveric Systems.</a:t>
              </a:r>
              <a:endParaRPr lang="en-US" sz="1050" dirty="0">
                <a:solidFill>
                  <a:prstClr val="white"/>
                </a:solidFill>
                <a:latin typeface="+mj-lt"/>
              </a:endParaRPr>
            </a:p>
          </p:txBody>
        </p:sp>
        <p:sp>
          <p:nvSpPr>
            <p:cNvPr id="39" name="TextBox 38"/>
            <p:cNvSpPr txBox="1"/>
            <p:nvPr/>
          </p:nvSpPr>
          <p:spPr bwMode="gray">
            <a:xfrm>
              <a:off x="4270082" y="1375632"/>
              <a:ext cx="3651834" cy="2241639"/>
            </a:xfrm>
            <a:prstGeom prst="rect">
              <a:avLst/>
            </a:prstGeom>
            <a:noFill/>
          </p:spPr>
          <p:txBody>
            <a:bodyPr wrap="none" lIns="0" tIns="0" rIns="0" bIns="0" anchor="b" anchorCtr="0">
              <a:spAutoFit/>
            </a:bodyPr>
            <a:lstStyle/>
            <a:p>
              <a:pPr algn="ctr" defTabSz="914400" eaLnBrk="1" fontAlgn="auto" hangingPunct="1">
                <a:spcBef>
                  <a:spcPts val="0"/>
                </a:spcBef>
                <a:spcAft>
                  <a:spcPts val="0"/>
                </a:spcAft>
                <a:defRPr/>
              </a:pPr>
              <a:r>
                <a:rPr lang="en-US" sz="1200" dirty="0" smtClean="0">
                  <a:solidFill>
                    <a:srgbClr val="007BA2"/>
                  </a:solidFill>
                  <a:latin typeface="+mj-lt"/>
                  <a:cs typeface="Arial" panose="020B0604020202020204" pitchFamily="34" charset="0"/>
                </a:rPr>
                <a:t>Corporate </a:t>
              </a:r>
              <a:r>
                <a:rPr lang="en-US" sz="1200" dirty="0">
                  <a:solidFill>
                    <a:srgbClr val="007BA2"/>
                  </a:solidFill>
                  <a:latin typeface="+mj-lt"/>
                  <a:cs typeface="Arial" panose="020B0604020202020204" pitchFamily="34" charset="0"/>
                </a:rPr>
                <a:t>Headquarters</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Lords Tower, Block 1,</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2</a:t>
              </a:r>
              <a:r>
                <a:rPr lang="en-US" sz="1200" baseline="30000" dirty="0" smtClean="0">
                  <a:solidFill>
                    <a:prstClr val="black">
                      <a:lumMod val="65000"/>
                      <a:lumOff val="35000"/>
                    </a:prstClr>
                  </a:solidFill>
                  <a:latin typeface="+mj-lt"/>
                  <a:cs typeface="Arial" panose="020B0604020202020204" pitchFamily="34" charset="0"/>
                </a:rPr>
                <a:t>nd</a:t>
              </a:r>
              <a:r>
                <a:rPr lang="en-US" sz="1200" dirty="0" smtClean="0">
                  <a:solidFill>
                    <a:prstClr val="black">
                      <a:lumMod val="65000"/>
                      <a:lumOff val="35000"/>
                    </a:prstClr>
                  </a:solidFill>
                  <a:latin typeface="+mj-lt"/>
                  <a:cs typeface="Arial" panose="020B0604020202020204" pitchFamily="34" charset="0"/>
                </a:rPr>
                <a:t> Floor, Plot No. 1&amp;2 NP,</a:t>
              </a: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rPr>
                <a:t>Jawaharlal Nehru Road,</a:t>
              </a:r>
            </a:p>
            <a:p>
              <a:pPr algn="ctr" defTabSz="914400" eaLnBrk="1" fontAlgn="auto" hangingPunct="1">
                <a:spcBef>
                  <a:spcPts val="0"/>
                </a:spcBef>
                <a:spcAft>
                  <a:spcPts val="0"/>
                </a:spcAft>
                <a:tabLst>
                  <a:tab pos="457200" algn="l"/>
                </a:tabLst>
                <a:defRPr/>
              </a:pPr>
              <a:r>
                <a:rPr lang="en-US" sz="1200" dirty="0" err="1" smtClean="0">
                  <a:solidFill>
                    <a:prstClr val="black">
                      <a:lumMod val="65000"/>
                      <a:lumOff val="35000"/>
                    </a:prstClr>
                  </a:solidFill>
                  <a:latin typeface="+mj-lt"/>
                  <a:cs typeface="Arial" panose="020B0604020202020204" pitchFamily="34" charset="0"/>
                </a:rPr>
                <a:t>Thiru</a:t>
              </a:r>
              <a:r>
                <a:rPr lang="en-US" sz="1200" dirty="0" smtClean="0">
                  <a:solidFill>
                    <a:prstClr val="black">
                      <a:lumMod val="65000"/>
                      <a:lumOff val="35000"/>
                    </a:prstClr>
                  </a:solidFill>
                  <a:latin typeface="+mj-lt"/>
                  <a:cs typeface="Arial" panose="020B0604020202020204" pitchFamily="34" charset="0"/>
                </a:rPr>
                <a:t> Vi </a:t>
              </a:r>
              <a:r>
                <a:rPr lang="en-US" sz="1200" dirty="0" err="1" smtClean="0">
                  <a:solidFill>
                    <a:prstClr val="black">
                      <a:lumMod val="65000"/>
                      <a:lumOff val="35000"/>
                    </a:prstClr>
                  </a:solidFill>
                  <a:latin typeface="+mj-lt"/>
                  <a:cs typeface="Arial" panose="020B0604020202020204" pitchFamily="34" charset="0"/>
                </a:rPr>
                <a:t>Ka</a:t>
              </a:r>
              <a:r>
                <a:rPr lang="en-US" sz="1200" dirty="0" smtClean="0">
                  <a:solidFill>
                    <a:prstClr val="black">
                      <a:lumMod val="65000"/>
                      <a:lumOff val="35000"/>
                    </a:prstClr>
                  </a:solidFill>
                  <a:latin typeface="+mj-lt"/>
                  <a:cs typeface="Arial" panose="020B0604020202020204" pitchFamily="34" charset="0"/>
                </a:rPr>
                <a:t> Industrial Estate</a:t>
              </a:r>
            </a:p>
            <a:p>
              <a:pPr algn="ctr" defTabSz="914400" eaLnBrk="1" fontAlgn="auto" hangingPunct="1">
                <a:spcBef>
                  <a:spcPts val="0"/>
                </a:spcBef>
                <a:spcAft>
                  <a:spcPts val="0"/>
                </a:spcAft>
                <a:tabLst>
                  <a:tab pos="457200" algn="l"/>
                </a:tabLst>
                <a:defRPr/>
              </a:pPr>
              <a:r>
                <a:rPr lang="en-US" sz="1200" dirty="0" err="1" smtClean="0">
                  <a:solidFill>
                    <a:prstClr val="black">
                      <a:lumMod val="65000"/>
                      <a:lumOff val="35000"/>
                    </a:prstClr>
                  </a:solidFill>
                  <a:latin typeface="+mj-lt"/>
                  <a:cs typeface="Arial" panose="020B0604020202020204" pitchFamily="34" charset="0"/>
                </a:rPr>
                <a:t>Ekkaduthangal</a:t>
              </a:r>
              <a:r>
                <a:rPr lang="en-US" sz="1200" dirty="0" smtClean="0">
                  <a:solidFill>
                    <a:prstClr val="black">
                      <a:lumMod val="65000"/>
                      <a:lumOff val="35000"/>
                    </a:prstClr>
                  </a:solidFill>
                  <a:latin typeface="+mj-lt"/>
                  <a:cs typeface="Arial" panose="020B0604020202020204" pitchFamily="34" charset="0"/>
                </a:rPr>
                <a:t>, Chennai – 600 032</a:t>
              </a:r>
            </a:p>
            <a:p>
              <a:pPr algn="ctr" defTabSz="914400" eaLnBrk="1" fontAlgn="auto" hangingPunct="1">
                <a:spcBef>
                  <a:spcPts val="0"/>
                </a:spcBef>
                <a:spcAft>
                  <a:spcPts val="0"/>
                </a:spcAft>
                <a:tabLst>
                  <a:tab pos="457200" algn="l"/>
                </a:tabLst>
                <a:defRPr/>
              </a:pPr>
              <a:endParaRPr lang="en-US" sz="1200" dirty="0" smtClean="0">
                <a:solidFill>
                  <a:prstClr val="black">
                    <a:lumMod val="65000"/>
                    <a:lumOff val="35000"/>
                  </a:prstClr>
                </a:solidFill>
                <a:latin typeface="+mj-lt"/>
                <a:cs typeface="Arial" panose="020B0604020202020204" pitchFamily="34" charset="0"/>
                <a:hlinkClick r:id=""/>
              </a:endParaRPr>
            </a:p>
            <a:p>
              <a:pPr algn="ctr" defTabSz="914400" eaLnBrk="1" fontAlgn="auto" hangingPunct="1">
                <a:spcBef>
                  <a:spcPts val="0"/>
                </a:spcBef>
                <a:spcAft>
                  <a:spcPts val="0"/>
                </a:spcAft>
                <a:tabLst>
                  <a:tab pos="457200" algn="l"/>
                </a:tabLst>
                <a:defRPr/>
              </a:pPr>
              <a:r>
                <a:rPr lang="en-US" sz="1200" dirty="0" smtClean="0">
                  <a:solidFill>
                    <a:prstClr val="black">
                      <a:lumMod val="65000"/>
                      <a:lumOff val="35000"/>
                    </a:prstClr>
                  </a:solidFill>
                  <a:latin typeface="+mj-lt"/>
                  <a:cs typeface="Arial" panose="020B0604020202020204" pitchFamily="34" charset="0"/>
                  <a:hlinkClick r:id=""/>
                </a:rPr>
                <a:t>www.maveric-systems.com</a:t>
              </a:r>
              <a:endParaRPr lang="en-US" sz="1200" dirty="0" smtClean="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smtClean="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r>
                <a:rPr lang="tr-TR" sz="1200" dirty="0" smtClean="0">
                  <a:solidFill>
                    <a:srgbClr val="007BA2"/>
                  </a:solidFill>
                  <a:latin typeface="+mj-lt"/>
                  <a:ea typeface="+mn-ea"/>
                  <a:cs typeface="Arial" panose="020B0604020202020204" pitchFamily="34" charset="0"/>
                </a:rPr>
                <a:t>Global </a:t>
              </a:r>
              <a:r>
                <a:rPr lang="tr-TR" sz="1200" dirty="0">
                  <a:solidFill>
                    <a:srgbClr val="007BA2"/>
                  </a:solidFill>
                  <a:latin typeface="+mj-lt"/>
                  <a:ea typeface="+mn-ea"/>
                  <a:cs typeface="Arial" panose="020B0604020202020204" pitchFamily="34" charset="0"/>
                </a:rPr>
                <a:t>Locations</a:t>
              </a:r>
            </a:p>
            <a:p>
              <a:pPr algn="ctr" defTabSz="914400" eaLnBrk="1" fontAlgn="auto" hangingPunct="1">
                <a:spcBef>
                  <a:spcPts val="200"/>
                </a:spcBef>
                <a:spcAft>
                  <a:spcPts val="0"/>
                </a:spcAft>
                <a:defRPr/>
              </a:pPr>
              <a:r>
                <a:rPr lang="en-IN" sz="1200" dirty="0" smtClean="0">
                  <a:solidFill>
                    <a:srgbClr val="000000">
                      <a:lumMod val="65000"/>
                      <a:lumOff val="35000"/>
                    </a:srgbClr>
                  </a:solidFill>
                  <a:latin typeface="+mj-lt"/>
                  <a:cs typeface="Arial" panose="020B0604020202020204" pitchFamily="34" charset="0"/>
                </a:rPr>
                <a:t>SINGAPORE</a:t>
              </a:r>
              <a:r>
                <a:rPr lang="en-IN" sz="1200" baseline="0" dirty="0" smtClean="0">
                  <a:solidFill>
                    <a:srgbClr val="000000">
                      <a:lumMod val="65000"/>
                      <a:lumOff val="35000"/>
                    </a:srgbClr>
                  </a:solidFill>
                  <a:latin typeface="+mj-lt"/>
                  <a:cs typeface="Arial" panose="020B0604020202020204" pitchFamily="34" charset="0"/>
                </a:rPr>
                <a:t>  |  </a:t>
              </a:r>
              <a:r>
                <a:rPr lang="en-IN" sz="1200" dirty="0" smtClean="0">
                  <a:solidFill>
                    <a:srgbClr val="000000">
                      <a:lumMod val="65000"/>
                      <a:lumOff val="35000"/>
                    </a:srgbClr>
                  </a:solidFill>
                  <a:latin typeface="+mj-lt"/>
                  <a:cs typeface="Arial" panose="020B0604020202020204" pitchFamily="34" charset="0"/>
                </a:rPr>
                <a:t>UK  |  US  |  DUBAI  |  RIYADH  |  MALAYSIA</a:t>
              </a:r>
            </a:p>
          </p:txBody>
        </p:sp>
      </p:grpSp>
    </p:spTree>
    <p:extLst>
      <p:ext uri="{BB962C8B-B14F-4D97-AF65-F5344CB8AC3E}">
        <p14:creationId xmlns:p14="http://schemas.microsoft.com/office/powerpoint/2010/main" val="203206757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7133035" y="1474788"/>
            <a:ext cx="1714500" cy="2851150"/>
          </a:xfrm>
          <a:prstGeom prst="rect">
            <a:avLst/>
          </a:prstGeom>
        </p:spPr>
        <p:txBody>
          <a:bodyPr/>
          <a:lstStyle/>
          <a:p>
            <a:r>
              <a:rPr lang="en-US" dirty="0" smtClean="0"/>
              <a:t>Click icon to add picture</a:t>
            </a:r>
            <a:endParaRPr lang="en-IN" dirty="0"/>
          </a:p>
        </p:txBody>
      </p:sp>
      <p:sp>
        <p:nvSpPr>
          <p:cNvPr id="6" name="Rectangle 5"/>
          <p:cNvSpPr/>
          <p:nvPr/>
        </p:nvSpPr>
        <p:spPr>
          <a:xfrm>
            <a:off x="0" y="1475580"/>
            <a:ext cx="7018735" cy="2849564"/>
          </a:xfrm>
          <a:prstGeom prst="rect">
            <a:avLst/>
          </a:prstGeom>
          <a:solidFill>
            <a:schemeClr val="tx2"/>
          </a:solidFill>
          <a:ln w="3175" cap="flat" cmpd="sng" algn="ctr">
            <a:noFill/>
            <a:prstDash val="soli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450"/>
              </a:spcBef>
              <a:spcAft>
                <a:spcPts val="0"/>
              </a:spcAft>
              <a:buClrTx/>
              <a:buSzTx/>
              <a:buFontTx/>
              <a:buNone/>
              <a:tabLst/>
              <a:defRPr/>
            </a:pPr>
            <a:endParaRPr kumimoji="0" lang="en-IN" sz="1050" b="0" i="0" u="none" strike="noStrike" kern="0" cap="none" spc="0" normalizeH="0" baseline="0" noProof="0" dirty="0">
              <a:ln>
                <a:noFill/>
              </a:ln>
              <a:solidFill>
                <a:srgbClr val="000000"/>
              </a:solidFill>
              <a:effectLst/>
              <a:uLnTx/>
              <a:uFillTx/>
              <a:latin typeface="Calibri"/>
              <a:ea typeface="MS PGothic" pitchFamily="34" charset="-128"/>
              <a:cs typeface="+mn-cs"/>
            </a:endParaRPr>
          </a:p>
        </p:txBody>
      </p:sp>
      <p:grpSp>
        <p:nvGrpSpPr>
          <p:cNvPr id="7" name="Group 6"/>
          <p:cNvGrpSpPr/>
          <p:nvPr/>
        </p:nvGrpSpPr>
        <p:grpSpPr>
          <a:xfrm>
            <a:off x="2679" y="1475582"/>
            <a:ext cx="626864" cy="1147763"/>
            <a:chOff x="-19050" y="-4763"/>
            <a:chExt cx="835819" cy="1147763"/>
          </a:xfrm>
          <a:solidFill>
            <a:schemeClr val="bg1">
              <a:alpha val="17000"/>
            </a:schemeClr>
          </a:solidFill>
        </p:grpSpPr>
        <p:sp>
          <p:nvSpPr>
            <p:cNvPr id="8" name="Freeform 7"/>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Freeform 8"/>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3" name="Subtitle 2"/>
          <p:cNvSpPr>
            <a:spLocks noGrp="1"/>
          </p:cNvSpPr>
          <p:nvPr userDrawn="1">
            <p:ph type="subTitle" idx="1"/>
          </p:nvPr>
        </p:nvSpPr>
        <p:spPr bwMode="gray">
          <a:xfrm>
            <a:off x="839392" y="3013808"/>
            <a:ext cx="6071362" cy="230832"/>
          </a:xfrm>
          <a:prstGeom prst="rect">
            <a:avLst/>
          </a:prstGeom>
        </p:spPr>
        <p:txBody>
          <a:bodyPr wrap="square" lIns="0" tIns="0" rIns="0" bIns="0">
            <a:spAutoFit/>
          </a:bodyPr>
          <a:lstStyle>
            <a:lvl1pPr marL="0" indent="0" algn="l">
              <a:buNone/>
              <a:defRPr sz="1500">
                <a:solidFill>
                  <a:schemeClr val="bg1"/>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userDrawn="1">
            <p:ph type="ctrTitle"/>
          </p:nvPr>
        </p:nvSpPr>
        <p:spPr bwMode="gray">
          <a:xfrm>
            <a:off x="839392" y="2551034"/>
            <a:ext cx="6071362" cy="369332"/>
          </a:xfrm>
        </p:spPr>
        <p:txBody>
          <a:bodyPr wrap="square" lIns="0" tIns="0" rIns="0" bIns="0" anchor="b" anchorCtr="0">
            <a:spAutoFit/>
          </a:bodyPr>
          <a:lstStyle>
            <a:lvl1pPr algn="l">
              <a:defRPr sz="2400">
                <a:solidFill>
                  <a:srgbClr val="FFFFFF"/>
                </a:solidFill>
                <a:latin typeface="+mj-lt"/>
                <a:cs typeface="Century Gothic" panose="020B0502020202020204" pitchFamily="34" charset="0"/>
              </a:defRPr>
            </a:lvl1pPr>
          </a:lstStyle>
          <a:p>
            <a:r>
              <a:rPr lang="en-US" smtClean="0"/>
              <a:t>Click to edit Master title style</a:t>
            </a:r>
            <a:endParaRPr lang="en-US" dirty="0"/>
          </a:p>
        </p:txBody>
      </p:sp>
      <p:pic>
        <p:nvPicPr>
          <p:cNvPr id="10" name="Picture 9" descr="MAVERIC LOGO.eps"/>
          <p:cNvPicPr>
            <a:picLocks noChangeAspect="1"/>
          </p:cNvPicPr>
          <p:nvPr userDrawn="1"/>
        </p:nvPicPr>
        <p:blipFill>
          <a:blip r:embed="rId3">
            <a:extLst>
              <a:ext uri="{28A0092B-C50C-407E-A947-70E740481C1C}">
                <a14:useLocalDpi xmlns:a14="http://schemas.microsoft.com/office/drawing/2010/main" val="0"/>
              </a:ext>
            </a:extLst>
          </a:blip>
          <a:srcRect b="39967"/>
          <a:stretch>
            <a:fillRect/>
          </a:stretch>
        </p:blipFill>
        <p:spPr bwMode="auto">
          <a:xfrm>
            <a:off x="839392" y="4422957"/>
            <a:ext cx="1618060" cy="848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userDrawn="1">
            <p:custDataLst>
              <p:tags r:id="rId1"/>
            </p:custDataLst>
          </p:nvPr>
        </p:nvSpPr>
        <p:spPr>
          <a:xfrm>
            <a:off x="785812" y="6496054"/>
            <a:ext cx="2326569" cy="184652"/>
          </a:xfrm>
          <a:prstGeom prst="rect">
            <a:avLst/>
          </a:prstGeom>
          <a:noFill/>
        </p:spPr>
        <p:txBody>
          <a:bodyPr wrap="none" lIns="68565" tIns="34283" rIns="68565" bIns="34283">
            <a:spAutoFit/>
          </a:bodyPr>
          <a:lstStyle/>
          <a:p>
            <a:pPr marL="0" marR="0" lvl="0" indent="0" algn="l" defTabSz="342828" rtl="0" eaLnBrk="0" fontAlgn="base" latinLnBrk="0" hangingPunct="0">
              <a:lnSpc>
                <a:spcPct val="100000"/>
              </a:lnSpc>
              <a:spcBef>
                <a:spcPct val="0"/>
              </a:spcBef>
              <a:spcAft>
                <a:spcPct val="0"/>
              </a:spcAft>
              <a:buClrTx/>
              <a:buSzTx/>
              <a:buFontTx/>
              <a:buNone/>
              <a:tabLst/>
              <a:defRPr/>
            </a:pPr>
            <a:r>
              <a:rPr kumimoji="0" lang="en-US" sz="750" b="0" i="0" u="none" strike="noStrike" kern="0" cap="none" spc="0" normalizeH="0" baseline="0" noProof="0" dirty="0">
                <a:ln>
                  <a:noFill/>
                </a:ln>
                <a:solidFill>
                  <a:prstClr val="white">
                    <a:lumMod val="50000"/>
                  </a:prstClr>
                </a:solidFill>
                <a:effectLst/>
                <a:uLnTx/>
                <a:uFillTx/>
                <a:latin typeface="Calibri"/>
                <a:ea typeface="MS PGothic" pitchFamily="34" charset="-128"/>
                <a:cs typeface="+mn-cs"/>
              </a:rPr>
              <a:t>COPYRIGHT ©. ALL RIGHTS PROTECTED AND RESERVED.</a:t>
            </a:r>
          </a:p>
        </p:txBody>
      </p:sp>
    </p:spTree>
    <p:extLst>
      <p:ext uri="{BB962C8B-B14F-4D97-AF65-F5344CB8AC3E}">
        <p14:creationId xmlns:p14="http://schemas.microsoft.com/office/powerpoint/2010/main" val="165043052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guide id="3" pos="71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TextBox 4"/>
          <p:cNvSpPr txBox="1">
            <a:spLocks noChangeArrowheads="1"/>
          </p:cNvSpPr>
          <p:nvPr userDrawn="1"/>
        </p:nvSpPr>
        <p:spPr bwMode="gray">
          <a:xfrm>
            <a:off x="8837034" y="6566744"/>
            <a:ext cx="11221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fld id="{1A293784-CD66-4D8C-B283-7FF5ACBA415D}" type="slidenum">
              <a:rPr kumimoji="0" lang="en-US" sz="750" b="0" i="0" u="none" strike="noStrike" kern="1200" cap="none" spc="0" normalizeH="0" baseline="0" noProof="0" smtClean="0">
                <a:ln>
                  <a:noFill/>
                </a:ln>
                <a:solidFill>
                  <a:srgbClr val="EEECE1">
                    <a:lumMod val="25000"/>
                  </a:srgbClr>
                </a:solidFill>
                <a:effectLst/>
                <a:uLnTx/>
                <a:uFillTx/>
                <a:latin typeface="Calibri"/>
                <a:ea typeface="ＭＳ Ｐゴシック" pitchFamily="34" charset="-128"/>
                <a:cs typeface="Arial" panose="020B0604020202020204" pitchFamily="34" charset="0"/>
              </a:rPr>
              <a:pPr marL="0" marR="0" lvl="0" indent="0" algn="ctr" defTabSz="342900" rtl="0" eaLnBrk="1" fontAlgn="base" latinLnBrk="0" hangingPunct="1">
                <a:lnSpc>
                  <a:spcPct val="100000"/>
                </a:lnSpc>
                <a:spcBef>
                  <a:spcPct val="0"/>
                </a:spcBef>
                <a:spcAft>
                  <a:spcPct val="0"/>
                </a:spcAft>
                <a:buClrTx/>
                <a:buSzTx/>
                <a:buFontTx/>
                <a:buNone/>
                <a:tabLst/>
                <a:defRPr/>
              </a:pPr>
              <a:t>‹#›</a:t>
            </a:fld>
            <a:endParaRPr kumimoji="0" lang="en-US" sz="750" b="0" i="0" u="none" strike="noStrike" kern="1200" cap="none" spc="0" normalizeH="0" baseline="0" noProof="0" dirty="0" smtClean="0">
              <a:ln>
                <a:noFill/>
              </a:ln>
              <a:solidFill>
                <a:srgbClr val="EEECE1">
                  <a:lumMod val="25000"/>
                </a:srgbClr>
              </a:solidFill>
              <a:effectLst/>
              <a:uLnTx/>
              <a:uFillTx/>
              <a:latin typeface="Calibri"/>
              <a:ea typeface="ＭＳ Ｐゴシック" pitchFamily="34" charset="-128"/>
              <a:cs typeface="Arial" panose="020B0604020202020204" pitchFamily="34" charset="0"/>
            </a:endParaRPr>
          </a:p>
        </p:txBody>
      </p:sp>
      <p:sp>
        <p:nvSpPr>
          <p:cNvPr id="3" name="Content Placeholder 2"/>
          <p:cNvSpPr>
            <a:spLocks noGrp="1"/>
          </p:cNvSpPr>
          <p:nvPr>
            <p:ph idx="1"/>
          </p:nvPr>
        </p:nvSpPr>
        <p:spPr bwMode="gray">
          <a:xfrm>
            <a:off x="751113" y="1370869"/>
            <a:ext cx="8195240" cy="1141338"/>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350">
                <a:latin typeface="+mj-lt"/>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350">
                <a:latin typeface="+mj-lt"/>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350">
                <a:latin typeface="+mj-lt"/>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350">
                <a:latin typeface="+mj-lt"/>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350">
                <a:latin typeface="+mj-lt"/>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751114" y="200320"/>
            <a:ext cx="8195240"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250">
                <a:solidFill>
                  <a:schemeClr val="tx2"/>
                </a:solidFill>
                <a:latin typeface="+mj-lt"/>
              </a:defRPr>
            </a:lvl1pPr>
          </a:lstStyle>
          <a:p>
            <a:pPr lvl="0"/>
            <a:r>
              <a:rPr lang="en-US" dirty="0" smtClean="0"/>
              <a:t>Click to edit title</a:t>
            </a:r>
            <a:endParaRPr lang="en-US" dirty="0"/>
          </a:p>
        </p:txBody>
      </p:sp>
      <p:sp>
        <p:nvSpPr>
          <p:cNvPr id="2" name="TextBox 1"/>
          <p:cNvSpPr txBox="1"/>
          <p:nvPr userDrawn="1"/>
        </p:nvSpPr>
        <p:spPr>
          <a:xfrm>
            <a:off x="7879847" y="6574439"/>
            <a:ext cx="790281" cy="138499"/>
          </a:xfrm>
          <a:prstGeom prst="rect">
            <a:avLst/>
          </a:prstGeom>
          <a:noFill/>
        </p:spPr>
        <p:txBody>
          <a:bodyPr wrap="none" lIns="0" tIns="0" rIns="0" bIns="0" rtlCol="0" anchor="ctr" anchorCtr="0">
            <a:spAutoFit/>
          </a:bodyPr>
          <a:lstStyle/>
          <a:p>
            <a:pPr marL="0" marR="0" lvl="0" indent="0" algn="r" defTabSz="342900" rtl="0" eaLnBrk="0" fontAlgn="base" latinLnBrk="0" hangingPunct="0">
              <a:lnSpc>
                <a:spcPct val="100000"/>
              </a:lnSpc>
              <a:spcBef>
                <a:spcPct val="0"/>
              </a:spcBef>
              <a:spcAft>
                <a:spcPct val="0"/>
              </a:spcAft>
              <a:buClrTx/>
              <a:buSzTx/>
              <a:buFontTx/>
              <a:buNone/>
              <a:tabLst/>
              <a:defRPr/>
            </a:pPr>
            <a:r>
              <a:rPr kumimoji="0" lang="en-IN" sz="900" b="0" i="0" u="none" strike="noStrike" kern="1200" cap="none" spc="0" normalizeH="0" baseline="0" noProof="0" dirty="0" smtClean="0">
                <a:ln>
                  <a:noFill/>
                </a:ln>
                <a:solidFill>
                  <a:srgbClr val="EEECE1">
                    <a:lumMod val="25000"/>
                  </a:srgbClr>
                </a:solidFill>
                <a:effectLst/>
                <a:uLnTx/>
                <a:uFillTx/>
                <a:latin typeface="Calibri"/>
                <a:ea typeface="MS PGothic" pitchFamily="34" charset="-128"/>
                <a:cs typeface="Arial" panose="020B0604020202020204" pitchFamily="34" charset="0"/>
              </a:rPr>
              <a:t>Maveric Systems</a:t>
            </a:r>
            <a:endParaRPr kumimoji="0" lang="en-IN" sz="900" b="0" i="0" u="none" strike="noStrike" kern="1200" cap="none" spc="0" normalizeH="0" baseline="0" noProof="0" dirty="0">
              <a:ln>
                <a:noFill/>
              </a:ln>
              <a:solidFill>
                <a:srgbClr val="EEECE1">
                  <a:lumMod val="25000"/>
                </a:srgbClr>
              </a:solidFill>
              <a:effectLst/>
              <a:uLnTx/>
              <a:uFillTx/>
              <a:latin typeface="Calibri"/>
              <a:ea typeface="MS PGothic" pitchFamily="34" charset="-128"/>
              <a:cs typeface="Arial" panose="020B0604020202020204" pitchFamily="34" charset="0"/>
            </a:endParaRPr>
          </a:p>
        </p:txBody>
      </p:sp>
      <p:cxnSp>
        <p:nvCxnSpPr>
          <p:cNvPr id="8" name="Straight Connector 7"/>
          <p:cNvCxnSpPr/>
          <p:nvPr userDrawn="1"/>
        </p:nvCxnSpPr>
        <p:spPr>
          <a:xfrm>
            <a:off x="875217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 y="-4763"/>
            <a:ext cx="626864"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395522006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fld id="{1A293784-CD66-4D8C-B283-7FF5ACBA415D}" type="slidenum">
              <a:rPr kumimoji="0" lang="en-US" sz="750" b="0" i="0" u="none" strike="noStrike" kern="1200" cap="none" spc="0" normalizeH="0" baseline="0" noProof="0" smtClean="0">
                <a:ln>
                  <a:noFill/>
                </a:ln>
                <a:solidFill>
                  <a:srgbClr val="EEECE1">
                    <a:lumMod val="25000"/>
                  </a:srgbClr>
                </a:solidFill>
                <a:effectLst/>
                <a:uLnTx/>
                <a:uFillTx/>
                <a:latin typeface="Arial" panose="020B0604020202020204" pitchFamily="34" charset="0"/>
                <a:ea typeface="ＭＳ Ｐゴシック" pitchFamily="34" charset="-128"/>
                <a:cs typeface="Arial" panose="020B0604020202020204" pitchFamily="34" charset="0"/>
              </a:rPr>
              <a:pPr marL="0" marR="0" lvl="0" indent="0" algn="ctr" defTabSz="342900" rtl="0" eaLnBrk="1" fontAlgn="base" latinLnBrk="0" hangingPunct="1">
                <a:lnSpc>
                  <a:spcPct val="100000"/>
                </a:lnSpc>
                <a:spcBef>
                  <a:spcPct val="0"/>
                </a:spcBef>
                <a:spcAft>
                  <a:spcPct val="0"/>
                </a:spcAft>
                <a:buClrTx/>
                <a:buSzTx/>
                <a:buFontTx/>
                <a:buNone/>
                <a:tabLst/>
                <a:defRPr/>
              </a:pPr>
              <a:t>‹#›</a:t>
            </a:fld>
            <a:endParaRPr kumimoji="0" lang="en-US" sz="750" b="0" i="0" u="none" strike="noStrike" kern="1200" cap="none" spc="0" normalizeH="0" baseline="0" noProof="0" dirty="0" smtClean="0">
              <a:ln>
                <a:noFill/>
              </a:ln>
              <a:solidFill>
                <a:srgbClr val="EEECE1">
                  <a:lumMod val="25000"/>
                </a:srgbClr>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4" name="Title Placeholder 1"/>
          <p:cNvSpPr>
            <a:spLocks noGrp="1"/>
          </p:cNvSpPr>
          <p:nvPr>
            <p:ph type="title" hasCustomPrompt="1"/>
          </p:nvPr>
        </p:nvSpPr>
        <p:spPr bwMode="gray">
          <a:xfrm>
            <a:off x="2942032" y="1978435"/>
            <a:ext cx="6004322"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1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marL="0" marR="0" lvl="0" indent="0" algn="r" defTabSz="342900" rtl="0" eaLnBrk="0" fontAlgn="base" latinLnBrk="0" hangingPunct="0">
              <a:lnSpc>
                <a:spcPct val="100000"/>
              </a:lnSpc>
              <a:spcBef>
                <a:spcPct val="0"/>
              </a:spcBef>
              <a:spcAft>
                <a:spcPct val="0"/>
              </a:spcAft>
              <a:buClrTx/>
              <a:buSzTx/>
              <a:buFontTx/>
              <a:buNone/>
              <a:tabLst/>
              <a:defRPr/>
            </a:pPr>
            <a:r>
              <a:rPr kumimoji="0" lang="en-IN" sz="900" b="0" i="0" u="none" strike="noStrike" kern="1200" cap="none" spc="0" normalizeH="0" baseline="0" noProof="0" dirty="0" smtClean="0">
                <a:ln>
                  <a:noFill/>
                </a:ln>
                <a:solidFill>
                  <a:srgbClr val="EEECE1">
                    <a:lumMod val="25000"/>
                  </a:srgbClr>
                </a:solidFill>
                <a:effectLst/>
                <a:uLnTx/>
                <a:uFillTx/>
                <a:latin typeface="Arial" panose="020B0604020202020204" pitchFamily="34" charset="0"/>
                <a:ea typeface="MS PGothic" pitchFamily="34" charset="-128"/>
                <a:cs typeface="Arial" panose="020B0604020202020204" pitchFamily="34" charset="0"/>
              </a:rPr>
              <a:t>Maveric Systems</a:t>
            </a:r>
            <a:endParaRPr kumimoji="0" lang="en-IN" sz="900" b="0" i="0" u="none" strike="noStrike" kern="1200" cap="none" spc="0" normalizeH="0" baseline="0" noProof="0" dirty="0">
              <a:ln>
                <a:noFill/>
              </a:ln>
              <a:solidFill>
                <a:srgbClr val="EEECE1">
                  <a:lumMod val="25000"/>
                </a:srgbClr>
              </a:solidFill>
              <a:effectLst/>
              <a:uLnTx/>
              <a:uFillTx/>
              <a:latin typeface="Arial" panose="020B0604020202020204" pitchFamily="34" charset="0"/>
              <a:ea typeface="MS PGothic" pitchFamily="34" charset="-128"/>
              <a:cs typeface="Arial" panose="020B0604020202020204" pitchFamily="34" charset="0"/>
            </a:endParaRP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9285" y="-28576"/>
            <a:ext cx="2951318" cy="5677596"/>
            <a:chOff x="2160910" y="711647"/>
            <a:chExt cx="3935090" cy="5677596"/>
          </a:xfrm>
        </p:grpSpPr>
        <p:sp>
          <p:nvSpPr>
            <p:cNvPr id="13" name="Freeform 12"/>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14" name="Freeform 13"/>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245012469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7"/>
            <a:ext cx="9144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TextBox 4"/>
          <p:cNvSpPr txBox="1">
            <a:spLocks noChangeArrowheads="1"/>
          </p:cNvSpPr>
          <p:nvPr userDrawn="1"/>
        </p:nvSpPr>
        <p:spPr bwMode="gray">
          <a:xfrm>
            <a:off x="8834629" y="6566744"/>
            <a:ext cx="1170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marL="0" marR="0" lvl="0" indent="0" algn="ctr" defTabSz="342900" rtl="0" eaLnBrk="1" fontAlgn="base" latinLnBrk="0" hangingPunct="1">
              <a:lnSpc>
                <a:spcPct val="100000"/>
              </a:lnSpc>
              <a:spcBef>
                <a:spcPct val="0"/>
              </a:spcBef>
              <a:spcAft>
                <a:spcPct val="0"/>
              </a:spcAft>
              <a:buClrTx/>
              <a:buSzTx/>
              <a:buFontTx/>
              <a:buNone/>
              <a:tabLst/>
              <a:defRPr/>
            </a:pPr>
            <a:fld id="{1A293784-CD66-4D8C-B283-7FF5ACBA415D}" type="slidenum">
              <a:rPr kumimoji="0" lang="en-US" sz="750" b="0" i="0" u="none" strike="noStrike" kern="1200" cap="none" spc="0" normalizeH="0" baseline="0" noProof="0" smtClean="0">
                <a:ln>
                  <a:noFill/>
                </a:ln>
                <a:solidFill>
                  <a:srgbClr val="EEECE1">
                    <a:lumMod val="25000"/>
                  </a:srgbClr>
                </a:solidFill>
                <a:effectLst/>
                <a:uLnTx/>
                <a:uFillTx/>
                <a:latin typeface="Arial" panose="020B0604020202020204" pitchFamily="34" charset="0"/>
                <a:ea typeface="ＭＳ Ｐゴシック" pitchFamily="34" charset="-128"/>
                <a:cs typeface="Arial" panose="020B0604020202020204" pitchFamily="34" charset="0"/>
              </a:rPr>
              <a:pPr marL="0" marR="0" lvl="0" indent="0" algn="ctr" defTabSz="342900" rtl="0" eaLnBrk="1" fontAlgn="base" latinLnBrk="0" hangingPunct="1">
                <a:lnSpc>
                  <a:spcPct val="100000"/>
                </a:lnSpc>
                <a:spcBef>
                  <a:spcPct val="0"/>
                </a:spcBef>
                <a:spcAft>
                  <a:spcPct val="0"/>
                </a:spcAft>
                <a:buClrTx/>
                <a:buSzTx/>
                <a:buFontTx/>
                <a:buNone/>
                <a:tabLst/>
                <a:defRPr/>
              </a:pPr>
              <a:t>‹#›</a:t>
            </a:fld>
            <a:endParaRPr kumimoji="0" lang="en-US" sz="750" b="0" i="0" u="none" strike="noStrike" kern="1200" cap="none" spc="0" normalizeH="0" baseline="0" noProof="0" dirty="0" smtClean="0">
              <a:ln>
                <a:noFill/>
              </a:ln>
              <a:solidFill>
                <a:srgbClr val="EEECE1">
                  <a:lumMod val="25000"/>
                </a:srgbClr>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3" name="Content Placeholder 2"/>
          <p:cNvSpPr>
            <a:spLocks noGrp="1"/>
          </p:cNvSpPr>
          <p:nvPr>
            <p:ph idx="1"/>
          </p:nvPr>
        </p:nvSpPr>
        <p:spPr bwMode="gray">
          <a:xfrm>
            <a:off x="751113" y="1370869"/>
            <a:ext cx="8195240" cy="1141338"/>
          </a:xfrm>
          <a:prstGeom prst="rect">
            <a:avLst/>
          </a:prstGeom>
        </p:spPr>
        <p:txBody>
          <a:bodyPr wrap="square" lIns="0" tIns="0" rIns="0" bIns="0">
            <a:spAutoFit/>
          </a:bodyPr>
          <a:lstStyle>
            <a:lvl1pPr marL="0" indent="0">
              <a:spcBef>
                <a:spcPts val="150"/>
              </a:spcBef>
              <a:buClr>
                <a:srgbClr val="2F82BF"/>
              </a:buClr>
              <a:buSzPct val="120000"/>
              <a:buFont typeface="Lucida Grande"/>
              <a:buNone/>
              <a:defRPr sz="1350">
                <a:latin typeface="Arial" panose="020B0604020202020204" pitchFamily="34" charset="0"/>
                <a:cs typeface="Arial" panose="020B0604020202020204" pitchFamily="34" charset="0"/>
              </a:defRPr>
            </a:lvl1pPr>
            <a:lvl2pPr marL="272654" indent="-272654">
              <a:spcBef>
                <a:spcPts val="150"/>
              </a:spcBef>
              <a:buClr>
                <a:srgbClr val="2F82BF"/>
              </a:buClr>
              <a:buSzPct val="110000"/>
              <a:buFont typeface="Wingdings" panose="05000000000000000000" pitchFamily="2" charset="2"/>
              <a:buChar char="§"/>
              <a:defRPr sz="1350">
                <a:latin typeface="Arial" panose="020B0604020202020204" pitchFamily="34" charset="0"/>
                <a:cs typeface="Arial" panose="020B0604020202020204" pitchFamily="34" charset="0"/>
              </a:defRPr>
            </a:lvl2pPr>
            <a:lvl3pPr marL="533400" indent="-260747">
              <a:spcBef>
                <a:spcPts val="150"/>
              </a:spcBef>
              <a:buClr>
                <a:srgbClr val="2F82BF"/>
              </a:buClr>
              <a:buFont typeface="Symbol" panose="05050102010706020507" pitchFamily="18" charset="2"/>
              <a:buChar char="-"/>
              <a:defRPr sz="1350">
                <a:latin typeface="Arial" panose="020B0604020202020204" pitchFamily="34" charset="0"/>
                <a:cs typeface="Arial" panose="020B0604020202020204" pitchFamily="34" charset="0"/>
              </a:defRPr>
            </a:lvl3pPr>
            <a:lvl4pPr marL="806054" indent="-272654">
              <a:spcBef>
                <a:spcPts val="150"/>
              </a:spcBef>
              <a:buClr>
                <a:srgbClr val="2F82BF"/>
              </a:buClr>
              <a:buSzPct val="90000"/>
              <a:buFont typeface="Arial" panose="020B0604020202020204" pitchFamily="34" charset="0"/>
              <a:buChar char="•"/>
              <a:defRPr sz="1350">
                <a:latin typeface="Arial" panose="020B0604020202020204" pitchFamily="34" charset="0"/>
                <a:cs typeface="Arial" panose="020B0604020202020204" pitchFamily="34" charset="0"/>
              </a:defRPr>
            </a:lvl4pPr>
            <a:lvl5pPr marL="1077516" indent="-271463">
              <a:spcBef>
                <a:spcPts val="150"/>
              </a:spcBef>
              <a:buClr>
                <a:schemeClr val="tx2"/>
              </a:buClr>
              <a:buFont typeface="Symbol" panose="05050102010706020507" pitchFamily="18" charset="2"/>
              <a:buChar char="-"/>
              <a:defRPr sz="1350">
                <a:latin typeface="Arial" panose="020B0604020202020204" pitchFamily="34" charset="0"/>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Placeholder 1"/>
          <p:cNvSpPr>
            <a:spLocks noGrp="1"/>
          </p:cNvSpPr>
          <p:nvPr>
            <p:ph type="title" hasCustomPrompt="1"/>
          </p:nvPr>
        </p:nvSpPr>
        <p:spPr bwMode="gray">
          <a:xfrm>
            <a:off x="751114" y="200321"/>
            <a:ext cx="819524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100">
                <a:solidFill>
                  <a:schemeClr val="tx2"/>
                </a:solidFill>
              </a:defRPr>
            </a:lvl1pPr>
          </a:lstStyle>
          <a:p>
            <a:pPr lvl="0"/>
            <a:r>
              <a:rPr lang="en-US" dirty="0" smtClean="0"/>
              <a:t>Click to edit title</a:t>
            </a:r>
            <a:endParaRPr lang="en-US" dirty="0"/>
          </a:p>
        </p:txBody>
      </p:sp>
      <p:sp>
        <p:nvSpPr>
          <p:cNvPr id="2" name="TextBox 1"/>
          <p:cNvSpPr txBox="1"/>
          <p:nvPr userDrawn="1"/>
        </p:nvSpPr>
        <p:spPr>
          <a:xfrm>
            <a:off x="7791682" y="6574439"/>
            <a:ext cx="878447" cy="138499"/>
          </a:xfrm>
          <a:prstGeom prst="rect">
            <a:avLst/>
          </a:prstGeom>
          <a:noFill/>
        </p:spPr>
        <p:txBody>
          <a:bodyPr wrap="none" lIns="0" tIns="0" rIns="0" bIns="0" rtlCol="0" anchor="ctr" anchorCtr="0">
            <a:spAutoFit/>
          </a:bodyPr>
          <a:lstStyle/>
          <a:p>
            <a:pPr marL="0" marR="0" lvl="0" indent="0" algn="r" defTabSz="342900" rtl="0" eaLnBrk="0" fontAlgn="base" latinLnBrk="0" hangingPunct="0">
              <a:lnSpc>
                <a:spcPct val="100000"/>
              </a:lnSpc>
              <a:spcBef>
                <a:spcPct val="0"/>
              </a:spcBef>
              <a:spcAft>
                <a:spcPct val="0"/>
              </a:spcAft>
              <a:buClrTx/>
              <a:buSzTx/>
              <a:buFontTx/>
              <a:buNone/>
              <a:tabLst/>
              <a:defRPr/>
            </a:pPr>
            <a:r>
              <a:rPr kumimoji="0" lang="en-IN" sz="900" b="0" i="0" u="none" strike="noStrike" kern="1200" cap="none" spc="0" normalizeH="0" baseline="0" noProof="0" dirty="0" smtClean="0">
                <a:ln>
                  <a:noFill/>
                </a:ln>
                <a:solidFill>
                  <a:srgbClr val="EEECE1">
                    <a:lumMod val="25000"/>
                  </a:srgbClr>
                </a:solidFill>
                <a:effectLst/>
                <a:uLnTx/>
                <a:uFillTx/>
                <a:latin typeface="Arial" panose="020B0604020202020204" pitchFamily="34" charset="0"/>
                <a:ea typeface="MS PGothic" pitchFamily="34" charset="-128"/>
                <a:cs typeface="Arial" panose="020B0604020202020204" pitchFamily="34" charset="0"/>
              </a:rPr>
              <a:t>Maveric Systems</a:t>
            </a:r>
            <a:endParaRPr kumimoji="0" lang="en-IN" sz="900" b="0" i="0" u="none" strike="noStrike" kern="1200" cap="none" spc="0" normalizeH="0" baseline="0" noProof="0" dirty="0">
              <a:ln>
                <a:noFill/>
              </a:ln>
              <a:solidFill>
                <a:srgbClr val="EEECE1">
                  <a:lumMod val="25000"/>
                </a:srgbClr>
              </a:solidFill>
              <a:effectLst/>
              <a:uLnTx/>
              <a:uFillTx/>
              <a:latin typeface="Arial" panose="020B0604020202020204" pitchFamily="34" charset="0"/>
              <a:ea typeface="MS PGothic" pitchFamily="34" charset="-128"/>
              <a:cs typeface="Arial" panose="020B0604020202020204" pitchFamily="34" charset="0"/>
            </a:endParaRPr>
          </a:p>
        </p:txBody>
      </p:sp>
      <p:cxnSp>
        <p:nvCxnSpPr>
          <p:cNvPr id="8" name="Straight Connector 7"/>
          <p:cNvCxnSpPr/>
          <p:nvPr userDrawn="1"/>
        </p:nvCxnSpPr>
        <p:spPr>
          <a:xfrm>
            <a:off x="8724828"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1" y="-4763"/>
            <a:ext cx="626864"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182356085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04775" y="2698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smtClean="0"/>
              <a:t>CLICK TO EDIT TITLE</a:t>
            </a:r>
          </a:p>
        </p:txBody>
      </p:sp>
    </p:spTree>
  </p:cSld>
  <p:clrMap bg1="lt1" tx1="dk1" bg2="lt2" tx2="dk2" accent1="accent1" accent2="accent2" accent3="accent3" accent4="accent4" accent5="accent5" accent6="accent6" hlink="hlink" folHlink="folHlink"/>
  <p:sldLayoutIdLst>
    <p:sldLayoutId id="2147484251" r:id="rId1"/>
    <p:sldLayoutId id="2147484253" r:id="rId2"/>
    <p:sldLayoutId id="2147484262" r:id="rId3"/>
    <p:sldLayoutId id="2147484273" r:id="rId4"/>
    <p:sldLayoutId id="2147484275" r:id="rId5"/>
  </p:sldLayoutIdLst>
  <p:timing>
    <p:tnLst>
      <p:par>
        <p:cTn id="1" dur="indefinite" restart="never" nodeType="tmRoot"/>
      </p:par>
    </p:tnLst>
  </p:timing>
  <p:hf hdr="0" ftr="0" dt="0"/>
  <p:txStyles>
    <p:titleStyle>
      <a:lvl1pPr algn="l" defTabSz="342900" rtl="0" eaLnBrk="1" fontAlgn="base" hangingPunct="1">
        <a:spcBef>
          <a:spcPct val="0"/>
        </a:spcBef>
        <a:spcAft>
          <a:spcPct val="0"/>
        </a:spcAft>
        <a:defRPr sz="3300" b="1" kern="1200">
          <a:solidFill>
            <a:srgbClr val="B42359"/>
          </a:solidFill>
          <a:latin typeface="Arial"/>
          <a:ea typeface="MS PGothic" pitchFamily="34" charset="-128"/>
          <a:cs typeface="Arial"/>
        </a:defRPr>
      </a:lvl1pPr>
      <a:lvl2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2pPr>
      <a:lvl3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3pPr>
      <a:lvl4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4pPr>
      <a:lvl5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5pPr>
      <a:lvl6pPr marL="3429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6pPr>
      <a:lvl7pPr marL="6858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7pPr>
      <a:lvl8pPr marL="10287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8pPr>
      <a:lvl9pPr marL="13716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9pPr>
    </p:titleStyle>
    <p:bodyStyle>
      <a:lvl1pPr marL="257175" indent="-257175" algn="l" defTabSz="3429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1pPr>
      <a:lvl2pPr marL="557213" indent="-214313" algn="l" defTabSz="342900" rtl="0" eaLnBrk="1" fontAlgn="base" hangingPunct="1">
        <a:spcBef>
          <a:spcPct val="20000"/>
        </a:spcBef>
        <a:spcAft>
          <a:spcPct val="0"/>
        </a:spcAft>
        <a:buFont typeface="Arial" pitchFamily="34" charset="0"/>
        <a:buChar char="–"/>
        <a:defRPr sz="2100" kern="1200">
          <a:solidFill>
            <a:schemeClr val="tx1"/>
          </a:solidFill>
          <a:latin typeface="+mn-lt"/>
          <a:ea typeface="MS PGothic" pitchFamily="34" charset="-128"/>
          <a:cs typeface="MS PGothic" charset="0"/>
        </a:defRPr>
      </a:lvl2pPr>
      <a:lvl3pPr marL="857250" indent="-171450" algn="l" defTabSz="342900" rtl="0" eaLnBrk="1" fontAlgn="base" hangingPunct="1">
        <a:spcBef>
          <a:spcPct val="20000"/>
        </a:spcBef>
        <a:spcAft>
          <a:spcPct val="0"/>
        </a:spcAft>
        <a:buFont typeface="Arial" pitchFamily="34" charset="0"/>
        <a:buChar char="•"/>
        <a:defRPr sz="1800" kern="1200">
          <a:solidFill>
            <a:schemeClr val="tx1"/>
          </a:solidFill>
          <a:latin typeface="+mn-lt"/>
          <a:ea typeface="MS PGothic" pitchFamily="34" charset="-128"/>
          <a:cs typeface="MS PGothic" charset="0"/>
        </a:defRPr>
      </a:lvl3pPr>
      <a:lvl4pPr marL="12001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4pPr>
      <a:lvl5pPr marL="15430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04775" y="2698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smtClean="0"/>
              <a:t>CLICK TO EDIT TITLE</a:t>
            </a:r>
          </a:p>
        </p:txBody>
      </p:sp>
    </p:spTree>
    <p:extLst>
      <p:ext uri="{BB962C8B-B14F-4D97-AF65-F5344CB8AC3E}">
        <p14:creationId xmlns:p14="http://schemas.microsoft.com/office/powerpoint/2010/main" val="1116368447"/>
      </p:ext>
    </p:extLst>
  </p:cSld>
  <p:clrMap bg1="lt1" tx1="dk1" bg2="lt2" tx2="dk2" accent1="accent1" accent2="accent2" accent3="accent3" accent4="accent4" accent5="accent5" accent6="accent6" hlink="hlink" folHlink="folHlink"/>
  <p:sldLayoutIdLst>
    <p:sldLayoutId id="2147484277" r:id="rId1"/>
    <p:sldLayoutId id="2147484278" r:id="rId2"/>
    <p:sldLayoutId id="2147484279" r:id="rId3"/>
    <p:sldLayoutId id="2147484280" r:id="rId4"/>
    <p:sldLayoutId id="2147484281" r:id="rId5"/>
  </p:sldLayoutIdLst>
  <p:timing>
    <p:tnLst>
      <p:par>
        <p:cTn id="1" dur="indefinite" restart="never" nodeType="tmRoot"/>
      </p:par>
    </p:tnLst>
  </p:timing>
  <p:hf hdr="0" ftr="0" dt="0"/>
  <p:txStyles>
    <p:titleStyle>
      <a:lvl1pPr algn="l" defTabSz="342900" rtl="0" eaLnBrk="1" fontAlgn="base" hangingPunct="1">
        <a:spcBef>
          <a:spcPct val="0"/>
        </a:spcBef>
        <a:spcAft>
          <a:spcPct val="0"/>
        </a:spcAft>
        <a:defRPr sz="3300" b="1" kern="1200">
          <a:solidFill>
            <a:srgbClr val="B42359"/>
          </a:solidFill>
          <a:latin typeface="Arial"/>
          <a:ea typeface="MS PGothic" pitchFamily="34" charset="-128"/>
          <a:cs typeface="Arial"/>
        </a:defRPr>
      </a:lvl1pPr>
      <a:lvl2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2pPr>
      <a:lvl3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3pPr>
      <a:lvl4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4pPr>
      <a:lvl5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5pPr>
      <a:lvl6pPr marL="3429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6pPr>
      <a:lvl7pPr marL="6858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7pPr>
      <a:lvl8pPr marL="10287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8pPr>
      <a:lvl9pPr marL="13716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9pPr>
    </p:titleStyle>
    <p:bodyStyle>
      <a:lvl1pPr marL="257175" indent="-257175" algn="l" defTabSz="3429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1pPr>
      <a:lvl2pPr marL="557213" indent="-214313" algn="l" defTabSz="342900" rtl="0" eaLnBrk="1" fontAlgn="base" hangingPunct="1">
        <a:spcBef>
          <a:spcPct val="20000"/>
        </a:spcBef>
        <a:spcAft>
          <a:spcPct val="0"/>
        </a:spcAft>
        <a:buFont typeface="Arial" pitchFamily="34" charset="0"/>
        <a:buChar char="–"/>
        <a:defRPr sz="2100" kern="1200">
          <a:solidFill>
            <a:schemeClr val="tx1"/>
          </a:solidFill>
          <a:latin typeface="+mn-lt"/>
          <a:ea typeface="MS PGothic" pitchFamily="34" charset="-128"/>
          <a:cs typeface="MS PGothic" charset="0"/>
        </a:defRPr>
      </a:lvl2pPr>
      <a:lvl3pPr marL="857250" indent="-171450" algn="l" defTabSz="342900" rtl="0" eaLnBrk="1" fontAlgn="base" hangingPunct="1">
        <a:spcBef>
          <a:spcPct val="20000"/>
        </a:spcBef>
        <a:spcAft>
          <a:spcPct val="0"/>
        </a:spcAft>
        <a:buFont typeface="Arial" pitchFamily="34" charset="0"/>
        <a:buChar char="•"/>
        <a:defRPr sz="1800" kern="1200">
          <a:solidFill>
            <a:schemeClr val="tx1"/>
          </a:solidFill>
          <a:latin typeface="+mn-lt"/>
          <a:ea typeface="MS PGothic" pitchFamily="34" charset="-128"/>
          <a:cs typeface="MS PGothic" charset="0"/>
        </a:defRPr>
      </a:lvl3pPr>
      <a:lvl4pPr marL="12001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4pPr>
      <a:lvl5pPr marL="1543050" indent="-171450" algn="l" defTabSz="342900" rtl="0" eaLnBrk="1" fontAlgn="base" hangingPunct="1">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hyperlink" Target="http://www.phptravels.net/" TargetMode="External"/><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133035" y="1963935"/>
            <a:ext cx="1714500" cy="2137173"/>
          </a:xfrm>
          <a:prstGeom prst="rect">
            <a:avLst/>
          </a:prstGeom>
        </p:spPr>
      </p:pic>
      <p:sp>
        <p:nvSpPr>
          <p:cNvPr id="2" name="Title 1"/>
          <p:cNvSpPr>
            <a:spLocks noGrp="1"/>
          </p:cNvSpPr>
          <p:nvPr>
            <p:ph type="ctrTitle"/>
          </p:nvPr>
        </p:nvSpPr>
        <p:spPr>
          <a:xfrm>
            <a:off x="839392" y="2489479"/>
            <a:ext cx="6071362" cy="430887"/>
          </a:xfrm>
        </p:spPr>
        <p:txBody>
          <a:bodyPr/>
          <a:lstStyle/>
          <a:p>
            <a:r>
              <a:rPr lang="en-IN" sz="2800" dirty="0" smtClean="0"/>
              <a:t>Fresher Learning Program</a:t>
            </a:r>
            <a:endParaRPr lang="en-IN" sz="2800" dirty="0"/>
          </a:p>
        </p:txBody>
      </p:sp>
      <p:sp>
        <p:nvSpPr>
          <p:cNvPr id="3" name="Subtitle 2"/>
          <p:cNvSpPr>
            <a:spLocks noGrp="1"/>
          </p:cNvSpPr>
          <p:nvPr>
            <p:ph type="subTitle" idx="1"/>
          </p:nvPr>
        </p:nvSpPr>
        <p:spPr>
          <a:xfrm>
            <a:off x="839392" y="3117606"/>
            <a:ext cx="6071362" cy="369332"/>
          </a:xfrm>
        </p:spPr>
        <p:txBody>
          <a:bodyPr/>
          <a:lstStyle/>
          <a:p>
            <a:r>
              <a:rPr lang="en-US" sz="2400" dirty="0" smtClean="0"/>
              <a:t>Selenium – </a:t>
            </a:r>
            <a:r>
              <a:rPr lang="en-US" sz="2400" smtClean="0"/>
              <a:t>Day 8</a:t>
            </a:r>
            <a:endParaRPr lang="en-IN" sz="2400" dirty="0" smtClean="0"/>
          </a:p>
        </p:txBody>
      </p:sp>
    </p:spTree>
    <p:extLst>
      <p:ext uri="{BB962C8B-B14F-4D97-AF65-F5344CB8AC3E}">
        <p14:creationId xmlns:p14="http://schemas.microsoft.com/office/powerpoint/2010/main" val="251357251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Selenium Grid</a:t>
            </a:r>
            <a:endParaRPr lang="en-IN" dirty="0"/>
          </a:p>
        </p:txBody>
      </p:sp>
      <p:sp>
        <p:nvSpPr>
          <p:cNvPr id="7" name="TextBox 6"/>
          <p:cNvSpPr txBox="1"/>
          <p:nvPr/>
        </p:nvSpPr>
        <p:spPr>
          <a:xfrm>
            <a:off x="419100" y="8001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1981200" y="4394200"/>
            <a:ext cx="6591300" cy="369332"/>
          </a:xfrm>
          <a:prstGeom prst="rect">
            <a:avLst/>
          </a:prstGeom>
        </p:spPr>
        <p:txBody>
          <a:bodyPr wrap="square">
            <a:spAutoFit/>
          </a:bodyPr>
          <a:lstStyle/>
          <a:p>
            <a:r>
              <a:rPr lang="en-IN" i="1" dirty="0" smtClean="0"/>
              <a:t>.</a:t>
            </a:r>
            <a:endParaRPr lang="en-IN" i="1" dirty="0"/>
          </a:p>
        </p:txBody>
      </p:sp>
      <p:sp>
        <p:nvSpPr>
          <p:cNvPr id="12" name="Rectangle 11"/>
          <p:cNvSpPr/>
          <p:nvPr/>
        </p:nvSpPr>
        <p:spPr>
          <a:xfrm>
            <a:off x="795986" y="1009024"/>
            <a:ext cx="7467600" cy="4801314"/>
          </a:xfrm>
          <a:prstGeom prst="rect">
            <a:avLst/>
          </a:prstGeom>
        </p:spPr>
        <p:txBody>
          <a:bodyPr wrap="square">
            <a:spAutoFit/>
          </a:bodyPr>
          <a:lstStyle/>
          <a:p>
            <a:r>
              <a:rPr lang="en-IN" dirty="0" smtClean="0">
                <a:solidFill>
                  <a:schemeClr val="tx2"/>
                </a:solidFill>
                <a:latin typeface="+mn-lt"/>
              </a:rPr>
              <a:t>The </a:t>
            </a:r>
            <a:r>
              <a:rPr lang="en-IN" b="1" i="1" dirty="0" smtClean="0">
                <a:solidFill>
                  <a:schemeClr val="tx2"/>
                </a:solidFill>
                <a:latin typeface="+mn-lt"/>
              </a:rPr>
              <a:t>Selenium Grid</a:t>
            </a:r>
            <a:r>
              <a:rPr lang="en-IN" dirty="0" smtClean="0">
                <a:solidFill>
                  <a:schemeClr val="tx2"/>
                </a:solidFill>
                <a:latin typeface="+mn-lt"/>
              </a:rPr>
              <a:t> is a testing tool which allows us to run our tests on different machines against different browsers.</a:t>
            </a:r>
          </a:p>
          <a:p>
            <a:pPr>
              <a:buFontTx/>
              <a:buChar char="-"/>
            </a:pPr>
            <a:endParaRPr lang="en-IN" b="1" i="1" dirty="0" smtClean="0">
              <a:solidFill>
                <a:schemeClr val="tx2"/>
              </a:solidFill>
              <a:latin typeface="+mn-lt"/>
            </a:endParaRPr>
          </a:p>
          <a:p>
            <a:r>
              <a:rPr lang="en-IN" b="1" i="1" dirty="0" smtClean="0">
                <a:solidFill>
                  <a:schemeClr val="tx2"/>
                </a:solidFill>
                <a:latin typeface="+mn-lt"/>
              </a:rPr>
              <a:t>What is a Hub?</a:t>
            </a:r>
            <a:endParaRPr lang="en-IN" dirty="0" smtClean="0">
              <a:solidFill>
                <a:schemeClr val="tx2"/>
              </a:solidFill>
              <a:latin typeface="+mn-lt"/>
            </a:endParaRPr>
          </a:p>
          <a:p>
            <a:r>
              <a:rPr lang="en-IN" dirty="0" smtClean="0">
                <a:solidFill>
                  <a:schemeClr val="tx2"/>
                </a:solidFill>
                <a:latin typeface="+mn-lt"/>
              </a:rPr>
              <a:t>In Selenium Grid, the hub is a computer which is the central point where we can load our tests into. Hub also acts as a server because of which it acts as a central point to control the network of Test machines. The Selenium Grid has only one hub and it is the master of the network. When a test with given DesiredCapabilities is given to Hub, the Hub searches for the node witch matches the given configuration.</a:t>
            </a:r>
          </a:p>
          <a:p>
            <a:endParaRPr lang="en-IN" dirty="0" smtClean="0">
              <a:solidFill>
                <a:schemeClr val="tx2"/>
              </a:solidFill>
              <a:latin typeface="+mn-lt"/>
            </a:endParaRPr>
          </a:p>
          <a:p>
            <a:r>
              <a:rPr lang="en-IN" b="1" i="1" dirty="0" smtClean="0">
                <a:solidFill>
                  <a:schemeClr val="tx2"/>
                </a:solidFill>
                <a:latin typeface="+mn-lt"/>
              </a:rPr>
              <a:t>What is a Node?</a:t>
            </a:r>
            <a:endParaRPr lang="en-IN" dirty="0" smtClean="0">
              <a:solidFill>
                <a:schemeClr val="tx2"/>
              </a:solidFill>
              <a:latin typeface="+mn-lt"/>
            </a:endParaRPr>
          </a:p>
          <a:p>
            <a:r>
              <a:rPr lang="en-IN" dirty="0" smtClean="0">
                <a:solidFill>
                  <a:schemeClr val="tx2"/>
                </a:solidFill>
                <a:latin typeface="+mn-lt"/>
              </a:rPr>
              <a:t>In Selenium Grid, a </a:t>
            </a:r>
            <a:r>
              <a:rPr lang="en-IN" b="1" i="1" dirty="0" smtClean="0">
                <a:solidFill>
                  <a:schemeClr val="tx2"/>
                </a:solidFill>
                <a:latin typeface="+mn-lt"/>
              </a:rPr>
              <a:t>node</a:t>
            </a:r>
            <a:r>
              <a:rPr lang="en-IN" i="1" dirty="0" smtClean="0">
                <a:solidFill>
                  <a:schemeClr val="tx2"/>
                </a:solidFill>
                <a:latin typeface="+mn-lt"/>
              </a:rPr>
              <a:t> </a:t>
            </a:r>
            <a:r>
              <a:rPr lang="en-IN" dirty="0" smtClean="0">
                <a:solidFill>
                  <a:schemeClr val="tx2"/>
                </a:solidFill>
                <a:latin typeface="+mn-lt"/>
              </a:rPr>
              <a:t>is referred to a Test Machine which opts to connect with the Hub. This test machine will be used by Hub to run tests on. A Grid network can have multiple nodes. A node is supposed to have different platforms i.e. different operating system and browsers. The node does not need the same platform for running as that of hub</a:t>
            </a:r>
            <a:r>
              <a:rPr lang="en-IN" dirty="0" smtClean="0">
                <a:solidFill>
                  <a:schemeClr val="tx2"/>
                </a:solidFill>
                <a:latin typeface="+mn-lt"/>
              </a:rPr>
              <a:t>.</a:t>
            </a:r>
            <a:endParaRPr lang="en-IN" dirty="0">
              <a:solidFill>
                <a:schemeClr val="tx2"/>
              </a:solidFill>
              <a:latin typeface="+mn-lt"/>
            </a:endParaRPr>
          </a:p>
        </p:txBody>
      </p:sp>
    </p:spTree>
    <p:extLst>
      <p:ext uri="{BB962C8B-B14F-4D97-AF65-F5344CB8AC3E}">
        <p14:creationId xmlns:p14="http://schemas.microsoft.com/office/powerpoint/2010/main" val="8900164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Selenium Grid</a:t>
            </a:r>
            <a:endParaRPr lang="en-IN" dirty="0"/>
          </a:p>
        </p:txBody>
      </p:sp>
      <p:sp>
        <p:nvSpPr>
          <p:cNvPr id="7" name="TextBox 6"/>
          <p:cNvSpPr txBox="1"/>
          <p:nvPr/>
        </p:nvSpPr>
        <p:spPr>
          <a:xfrm>
            <a:off x="419100" y="8001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1981200" y="4394200"/>
            <a:ext cx="6591300" cy="369332"/>
          </a:xfrm>
          <a:prstGeom prst="rect">
            <a:avLst/>
          </a:prstGeom>
        </p:spPr>
        <p:txBody>
          <a:bodyPr wrap="square">
            <a:spAutoFit/>
          </a:bodyPr>
          <a:lstStyle/>
          <a:p>
            <a:r>
              <a:rPr lang="en-IN" i="1" dirty="0" smtClean="0"/>
              <a:t>.</a:t>
            </a:r>
            <a:endParaRPr lang="en-IN" i="1" dirty="0"/>
          </a:p>
        </p:txBody>
      </p:sp>
      <p:sp>
        <p:nvSpPr>
          <p:cNvPr id="12" name="Rectangle 11"/>
          <p:cNvSpPr/>
          <p:nvPr/>
        </p:nvSpPr>
        <p:spPr>
          <a:xfrm>
            <a:off x="1092200" y="596900"/>
            <a:ext cx="7467600" cy="1754326"/>
          </a:xfrm>
          <a:prstGeom prst="rect">
            <a:avLst/>
          </a:prstGeom>
        </p:spPr>
        <p:txBody>
          <a:bodyPr wrap="square">
            <a:spAutoFit/>
          </a:bodyPr>
          <a:lstStyle/>
          <a:p>
            <a:pPr algn="just"/>
            <a:r>
              <a:rPr lang="en-IN" b="1" i="1" dirty="0" smtClean="0">
                <a:solidFill>
                  <a:srgbClr val="123761"/>
                </a:solidFill>
              </a:rPr>
              <a:t>How it works?</a:t>
            </a:r>
          </a:p>
          <a:p>
            <a:pPr algn="just"/>
            <a:endParaRPr lang="en-IN" dirty="0" smtClean="0">
              <a:solidFill>
                <a:srgbClr val="123761"/>
              </a:solidFill>
            </a:endParaRPr>
          </a:p>
          <a:p>
            <a:pPr algn="just"/>
            <a:r>
              <a:rPr lang="en-IN" dirty="0" smtClean="0">
                <a:solidFill>
                  <a:srgbClr val="123761"/>
                </a:solidFill>
              </a:rPr>
              <a:t>First you need to create a hub. Then you can connect (or “register”) nodes to that hub. Nodes are where your tests will run, and the hub is responsible for making sure your tests end up on the right one (e.g., the machine with the operating system and browser you specified in your test</a:t>
            </a:r>
            <a:r>
              <a:rPr lang="en-IN" dirty="0" smtClean="0">
                <a:solidFill>
                  <a:srgbClr val="123761"/>
                </a:solidFill>
              </a:rPr>
              <a:t>).</a:t>
            </a:r>
            <a:endParaRPr lang="en-IN" dirty="0"/>
          </a:p>
        </p:txBody>
      </p:sp>
      <p:pic>
        <p:nvPicPr>
          <p:cNvPr id="233474" name="Picture 2"/>
          <p:cNvPicPr>
            <a:picLocks noChangeAspect="1" noChangeArrowheads="1"/>
          </p:cNvPicPr>
          <p:nvPr/>
        </p:nvPicPr>
        <p:blipFill>
          <a:blip r:embed="rId3"/>
          <a:srcRect/>
          <a:stretch>
            <a:fillRect/>
          </a:stretch>
        </p:blipFill>
        <p:spPr bwMode="auto">
          <a:xfrm>
            <a:off x="1520825" y="2724150"/>
            <a:ext cx="4629150" cy="2933700"/>
          </a:xfrm>
          <a:prstGeom prst="rect">
            <a:avLst/>
          </a:prstGeom>
          <a:noFill/>
          <a:ln w="9525">
            <a:noFill/>
            <a:miter lim="800000"/>
            <a:headEnd/>
            <a:tailEnd/>
          </a:ln>
          <a:effectLst/>
        </p:spPr>
      </p:pic>
    </p:spTree>
    <p:extLst>
      <p:ext uri="{BB962C8B-B14F-4D97-AF65-F5344CB8AC3E}">
        <p14:creationId xmlns:p14="http://schemas.microsoft.com/office/powerpoint/2010/main" val="27390851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Selenium Grid</a:t>
            </a:r>
            <a:endParaRPr lang="en-IN" dirty="0"/>
          </a:p>
        </p:txBody>
      </p:sp>
      <p:sp>
        <p:nvSpPr>
          <p:cNvPr id="7" name="TextBox 6"/>
          <p:cNvSpPr txBox="1"/>
          <p:nvPr/>
        </p:nvSpPr>
        <p:spPr>
          <a:xfrm>
            <a:off x="419100" y="8001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1981200" y="4394200"/>
            <a:ext cx="6591300" cy="369332"/>
          </a:xfrm>
          <a:prstGeom prst="rect">
            <a:avLst/>
          </a:prstGeom>
        </p:spPr>
        <p:txBody>
          <a:bodyPr wrap="square">
            <a:spAutoFit/>
          </a:bodyPr>
          <a:lstStyle/>
          <a:p>
            <a:r>
              <a:rPr lang="en-IN" i="1" dirty="0" smtClean="0"/>
              <a:t>.</a:t>
            </a:r>
            <a:endParaRPr lang="en-IN" i="1" dirty="0"/>
          </a:p>
        </p:txBody>
      </p:sp>
      <p:sp>
        <p:nvSpPr>
          <p:cNvPr id="12" name="Rectangle 11"/>
          <p:cNvSpPr/>
          <p:nvPr/>
        </p:nvSpPr>
        <p:spPr>
          <a:xfrm>
            <a:off x="1092200" y="596900"/>
            <a:ext cx="7467600" cy="5909310"/>
          </a:xfrm>
          <a:prstGeom prst="rect">
            <a:avLst/>
          </a:prstGeom>
        </p:spPr>
        <p:txBody>
          <a:bodyPr wrap="square">
            <a:spAutoFit/>
          </a:bodyPr>
          <a:lstStyle/>
          <a:p>
            <a:r>
              <a:rPr lang="en-IN" b="1" dirty="0" smtClean="0">
                <a:solidFill>
                  <a:schemeClr val="tx2"/>
                </a:solidFill>
              </a:rPr>
              <a:t>When to Use Selenium Grid?</a:t>
            </a:r>
          </a:p>
          <a:p>
            <a:r>
              <a:rPr lang="en-IN" b="1" i="1" dirty="0" smtClean="0">
                <a:solidFill>
                  <a:schemeClr val="tx2"/>
                </a:solidFill>
              </a:rPr>
              <a:t>Run your tests against different browsers, operating systems, and machines all at the same time. </a:t>
            </a:r>
          </a:p>
          <a:p>
            <a:r>
              <a:rPr lang="en-IN" i="1" dirty="0" smtClean="0">
                <a:solidFill>
                  <a:schemeClr val="tx2"/>
                </a:solidFill>
              </a:rPr>
              <a:t>This will ensure that the application you are Testing is fully compatible with a wide range of browser-O.S combinations.</a:t>
            </a:r>
          </a:p>
          <a:p>
            <a:endParaRPr lang="en-IN" i="1" dirty="0" smtClean="0">
              <a:solidFill>
                <a:schemeClr val="tx2"/>
              </a:solidFill>
            </a:endParaRPr>
          </a:p>
          <a:p>
            <a:r>
              <a:rPr lang="en-IN" b="1" i="1" dirty="0" smtClean="0">
                <a:solidFill>
                  <a:schemeClr val="tx2"/>
                </a:solidFill>
              </a:rPr>
              <a:t>Save time in the execution of your test suites</a:t>
            </a:r>
            <a:r>
              <a:rPr lang="en-IN" i="1" dirty="0" smtClean="0">
                <a:solidFill>
                  <a:schemeClr val="tx2"/>
                </a:solidFill>
              </a:rPr>
              <a:t>.</a:t>
            </a:r>
          </a:p>
          <a:p>
            <a:r>
              <a:rPr lang="en-IN" i="1" dirty="0" smtClean="0">
                <a:solidFill>
                  <a:schemeClr val="tx2"/>
                </a:solidFill>
              </a:rPr>
              <a:t>If you set up Selenium Grid to run, say, 4 tests at a time, then you would be able to finish the whole suite around 4 times faster.</a:t>
            </a:r>
          </a:p>
          <a:p>
            <a:endParaRPr lang="en-IN" i="1" dirty="0" smtClean="0">
              <a:solidFill>
                <a:schemeClr val="tx2"/>
              </a:solidFill>
            </a:endParaRPr>
          </a:p>
          <a:p>
            <a:r>
              <a:rPr lang="en-IN" i="1" dirty="0" smtClean="0">
                <a:solidFill>
                  <a:schemeClr val="tx2"/>
                </a:solidFill>
              </a:rPr>
              <a:t>// Pre-requisite: </a:t>
            </a:r>
          </a:p>
          <a:p>
            <a:r>
              <a:rPr lang="en-IN" i="1" dirty="0" smtClean="0">
                <a:solidFill>
                  <a:schemeClr val="tx2"/>
                </a:solidFill>
              </a:rPr>
              <a:t>//Setup Hub</a:t>
            </a:r>
          </a:p>
          <a:p>
            <a:pPr>
              <a:buFont typeface="Wingdings" pitchFamily="2" charset="2"/>
              <a:buChar char="v"/>
            </a:pPr>
            <a:r>
              <a:rPr lang="en-IN" dirty="0" smtClean="0">
                <a:solidFill>
                  <a:schemeClr val="tx2"/>
                </a:solidFill>
              </a:rPr>
              <a:t> Using the command prompt, navigate to the root of Machine A's - C drive, because that is the directory where we placed the Selenium Server.</a:t>
            </a:r>
          </a:p>
          <a:p>
            <a:pPr marL="285750" indent="-285750">
              <a:buFont typeface="Wingdings" pitchFamily="2" charset="2"/>
              <a:buChar char="v"/>
            </a:pPr>
            <a:r>
              <a:rPr lang="en-IN" dirty="0" smtClean="0">
                <a:solidFill>
                  <a:schemeClr val="tx2"/>
                </a:solidFill>
              </a:rPr>
              <a:t> On the command prompt, type</a:t>
            </a:r>
            <a:r>
              <a:rPr lang="en-IN" b="1" i="1" dirty="0">
                <a:solidFill>
                  <a:schemeClr val="tx2"/>
                </a:solidFill>
              </a:rPr>
              <a:t> java -jar selenium-server-standalone-2.30.0.jar   -role hub</a:t>
            </a:r>
          </a:p>
          <a:p>
            <a:pPr>
              <a:buFont typeface="Wingdings" pitchFamily="2" charset="2"/>
              <a:buChar char="v"/>
            </a:pPr>
            <a:r>
              <a:rPr lang="en-IN" dirty="0" smtClean="0">
                <a:solidFill>
                  <a:schemeClr val="tx2"/>
                </a:solidFill>
              </a:rPr>
              <a:t> The hub should successfully be launched. Your command prompt should look similar to the image below</a:t>
            </a:r>
          </a:p>
          <a:p>
            <a:endParaRPr lang="en-IN" i="1" dirty="0" smtClean="0">
              <a:solidFill>
                <a:schemeClr val="tx2"/>
              </a:solidFill>
            </a:endParaRPr>
          </a:p>
          <a:p>
            <a:endParaRPr lang="en-IN" dirty="0" smtClean="0">
              <a:solidFill>
                <a:schemeClr val="tx2"/>
              </a:solidFill>
            </a:endParaRPr>
          </a:p>
          <a:p>
            <a:r>
              <a:rPr lang="en-IN" dirty="0" smtClean="0">
                <a:solidFill>
                  <a:schemeClr val="tx2"/>
                </a:solidFill>
              </a:rPr>
              <a:t>	</a:t>
            </a:r>
            <a:endParaRPr lang="en-IN" dirty="0">
              <a:solidFill>
                <a:schemeClr val="tx2"/>
              </a:solidFill>
            </a:endParaRPr>
          </a:p>
        </p:txBody>
      </p:sp>
    </p:spTree>
    <p:extLst>
      <p:ext uri="{BB962C8B-B14F-4D97-AF65-F5344CB8AC3E}">
        <p14:creationId xmlns:p14="http://schemas.microsoft.com/office/powerpoint/2010/main" val="33598564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Selenium Grid</a:t>
            </a:r>
            <a:endParaRPr lang="en-IN" dirty="0"/>
          </a:p>
        </p:txBody>
      </p:sp>
      <p:sp>
        <p:nvSpPr>
          <p:cNvPr id="7" name="TextBox 6"/>
          <p:cNvSpPr txBox="1"/>
          <p:nvPr/>
        </p:nvSpPr>
        <p:spPr>
          <a:xfrm>
            <a:off x="419100" y="8001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1981200" y="4394200"/>
            <a:ext cx="6591300" cy="369332"/>
          </a:xfrm>
          <a:prstGeom prst="rect">
            <a:avLst/>
          </a:prstGeom>
        </p:spPr>
        <p:txBody>
          <a:bodyPr wrap="square">
            <a:spAutoFit/>
          </a:bodyPr>
          <a:lstStyle/>
          <a:p>
            <a:r>
              <a:rPr lang="en-IN" i="1" dirty="0" smtClean="0"/>
              <a:t>.</a:t>
            </a:r>
            <a:endParaRPr lang="en-IN" i="1" dirty="0"/>
          </a:p>
        </p:txBody>
      </p:sp>
      <p:sp>
        <p:nvSpPr>
          <p:cNvPr id="12" name="Rectangle 11"/>
          <p:cNvSpPr/>
          <p:nvPr/>
        </p:nvSpPr>
        <p:spPr>
          <a:xfrm>
            <a:off x="894554" y="612425"/>
            <a:ext cx="7677946" cy="3416320"/>
          </a:xfrm>
          <a:prstGeom prst="rect">
            <a:avLst/>
          </a:prstGeom>
        </p:spPr>
        <p:txBody>
          <a:bodyPr wrap="square">
            <a:spAutoFit/>
          </a:bodyPr>
          <a:lstStyle/>
          <a:p>
            <a:pPr algn="just"/>
            <a:r>
              <a:rPr lang="en-IN" i="1" dirty="0" smtClean="0">
                <a:solidFill>
                  <a:schemeClr val="tx2"/>
                </a:solidFill>
                <a:latin typeface="+mn-lt"/>
              </a:rPr>
              <a:t>//Setup node</a:t>
            </a:r>
          </a:p>
          <a:p>
            <a:pPr algn="just"/>
            <a:r>
              <a:rPr lang="en-IN" i="1" dirty="0" smtClean="0">
                <a:solidFill>
                  <a:schemeClr val="tx2"/>
                </a:solidFill>
                <a:latin typeface="+mn-lt"/>
              </a:rPr>
              <a:t>Another way to verify whether the hub is running is by using a browser. Selenium Grid, by default, uses Machine A's port 4444 for its web interface. Simply open up a browser and go to http://localhost:4444/grid/console</a:t>
            </a:r>
          </a:p>
          <a:p>
            <a:pPr algn="just"/>
            <a:endParaRPr lang="en-IN" i="1" dirty="0" smtClean="0">
              <a:solidFill>
                <a:schemeClr val="tx2"/>
              </a:solidFill>
              <a:latin typeface="+mn-lt"/>
            </a:endParaRPr>
          </a:p>
          <a:p>
            <a:pPr algn="just"/>
            <a:r>
              <a:rPr lang="en-IN" i="1" dirty="0" smtClean="0">
                <a:solidFill>
                  <a:schemeClr val="tx2"/>
                </a:solidFill>
                <a:latin typeface="+mn-lt"/>
              </a:rPr>
              <a:t>//setup client</a:t>
            </a:r>
          </a:p>
          <a:p>
            <a:pPr algn="just"/>
            <a:r>
              <a:rPr lang="en-IN" i="1" dirty="0" smtClean="0">
                <a:solidFill>
                  <a:schemeClr val="tx2"/>
                </a:solidFill>
                <a:latin typeface="+mn-lt"/>
              </a:rPr>
              <a:t>java -Dwebdriver.gecko.driver="C:\geckodriver.exe" -jar selenium-server-standalone-3.4.0.jar -role </a:t>
            </a:r>
            <a:r>
              <a:rPr lang="en-IN" i="1" dirty="0" err="1" smtClean="0">
                <a:solidFill>
                  <a:schemeClr val="tx2"/>
                </a:solidFill>
                <a:latin typeface="+mn-lt"/>
              </a:rPr>
              <a:t>webdriver</a:t>
            </a:r>
            <a:r>
              <a:rPr lang="en-IN" i="1" dirty="0" smtClean="0">
                <a:solidFill>
                  <a:schemeClr val="tx2"/>
                </a:solidFill>
                <a:latin typeface="+mn-lt"/>
              </a:rPr>
              <a:t> -hub http://192.168.1.3:4444/grid/register -port 5566</a:t>
            </a:r>
          </a:p>
          <a:p>
            <a:pPr algn="just"/>
            <a:endParaRPr lang="en-IN" i="1" dirty="0" smtClean="0">
              <a:solidFill>
                <a:schemeClr val="tx2"/>
              </a:solidFill>
              <a:latin typeface="+mn-lt"/>
            </a:endParaRPr>
          </a:p>
          <a:p>
            <a:pPr algn="just">
              <a:buFont typeface="Wingdings" pitchFamily="2" charset="2"/>
              <a:buChar char="v"/>
            </a:pPr>
            <a:r>
              <a:rPr lang="en-IN" i="1" dirty="0" smtClean="0">
                <a:solidFill>
                  <a:schemeClr val="tx2"/>
                </a:solidFill>
                <a:latin typeface="+mn-lt"/>
              </a:rPr>
              <a:t> Go to </a:t>
            </a:r>
            <a:r>
              <a:rPr lang="en-IN" b="1" dirty="0" smtClean="0">
                <a:solidFill>
                  <a:schemeClr val="tx2"/>
                </a:solidFill>
                <a:latin typeface="+mn-lt"/>
              </a:rPr>
              <a:t>http://192.168.1.3:4444/grid/console </a:t>
            </a:r>
            <a:r>
              <a:rPr lang="en-IN" dirty="0" smtClean="0">
                <a:solidFill>
                  <a:schemeClr val="tx2"/>
                </a:solidFill>
                <a:latin typeface="+mn-lt"/>
              </a:rPr>
              <a:t>url to see the node configuration like </a:t>
            </a:r>
            <a:r>
              <a:rPr lang="en-IN" dirty="0" smtClean="0">
                <a:solidFill>
                  <a:schemeClr val="tx2"/>
                </a:solidFill>
                <a:latin typeface="+mn-lt"/>
              </a:rPr>
              <a:t>below</a:t>
            </a:r>
            <a:endParaRPr lang="en-IN" dirty="0">
              <a:solidFill>
                <a:schemeClr val="tx2"/>
              </a:solidFill>
              <a:latin typeface="+mn-lt"/>
            </a:endParaRPr>
          </a:p>
        </p:txBody>
      </p:sp>
      <p:pic>
        <p:nvPicPr>
          <p:cNvPr id="234500" name="Picture 4" descr="https://cdn.guru99.com/images/1/selenium_grid_14.png"/>
          <p:cNvPicPr>
            <a:picLocks noChangeAspect="1" noChangeArrowheads="1"/>
          </p:cNvPicPr>
          <p:nvPr/>
        </p:nvPicPr>
        <p:blipFill>
          <a:blip r:embed="rId3"/>
          <a:srcRect/>
          <a:stretch>
            <a:fillRect/>
          </a:stretch>
        </p:blipFill>
        <p:spPr bwMode="auto">
          <a:xfrm>
            <a:off x="1731673" y="4045183"/>
            <a:ext cx="5171404" cy="2291195"/>
          </a:xfrm>
          <a:prstGeom prst="rect">
            <a:avLst/>
          </a:prstGeom>
          <a:noFill/>
        </p:spPr>
      </p:pic>
    </p:spTree>
    <p:extLst>
      <p:ext uri="{BB962C8B-B14F-4D97-AF65-F5344CB8AC3E}">
        <p14:creationId xmlns:p14="http://schemas.microsoft.com/office/powerpoint/2010/main" val="405549646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Selenium Grid</a:t>
            </a:r>
            <a:endParaRPr lang="en-IN" dirty="0"/>
          </a:p>
        </p:txBody>
      </p:sp>
      <p:sp>
        <p:nvSpPr>
          <p:cNvPr id="7" name="TextBox 6"/>
          <p:cNvSpPr txBox="1"/>
          <p:nvPr/>
        </p:nvSpPr>
        <p:spPr>
          <a:xfrm>
            <a:off x="419100" y="8001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1981200" y="4394200"/>
            <a:ext cx="6591300" cy="369332"/>
          </a:xfrm>
          <a:prstGeom prst="rect">
            <a:avLst/>
          </a:prstGeom>
        </p:spPr>
        <p:txBody>
          <a:bodyPr wrap="square">
            <a:spAutoFit/>
          </a:bodyPr>
          <a:lstStyle/>
          <a:p>
            <a:r>
              <a:rPr lang="en-IN" i="1" dirty="0" smtClean="0"/>
              <a:t>.</a:t>
            </a:r>
            <a:endParaRPr lang="en-IN" i="1" dirty="0"/>
          </a:p>
        </p:txBody>
      </p:sp>
      <p:sp>
        <p:nvSpPr>
          <p:cNvPr id="12" name="Rectangle 11"/>
          <p:cNvSpPr/>
          <p:nvPr/>
        </p:nvSpPr>
        <p:spPr>
          <a:xfrm>
            <a:off x="1092200" y="596900"/>
            <a:ext cx="7467600" cy="1200329"/>
          </a:xfrm>
          <a:prstGeom prst="rect">
            <a:avLst/>
          </a:prstGeom>
        </p:spPr>
        <p:txBody>
          <a:bodyPr wrap="square">
            <a:spAutoFit/>
          </a:bodyPr>
          <a:lstStyle/>
          <a:p>
            <a:endParaRPr lang="en-IN" i="1" dirty="0" smtClean="0">
              <a:solidFill>
                <a:srgbClr val="B42359"/>
              </a:solidFill>
            </a:endParaRPr>
          </a:p>
          <a:p>
            <a:endParaRPr lang="en-IN" i="1" dirty="0" smtClean="0">
              <a:solidFill>
                <a:srgbClr val="B42359"/>
              </a:solidFill>
            </a:endParaRPr>
          </a:p>
          <a:p>
            <a:endParaRPr lang="en-IN" dirty="0" smtClean="0"/>
          </a:p>
          <a:p>
            <a:r>
              <a:rPr lang="en-IN" dirty="0" smtClean="0"/>
              <a:t>	</a:t>
            </a:r>
            <a:endParaRPr lang="en-IN" dirty="0"/>
          </a:p>
        </p:txBody>
      </p:sp>
      <p:sp>
        <p:nvSpPr>
          <p:cNvPr id="9" name="Rectangle 8"/>
          <p:cNvSpPr/>
          <p:nvPr/>
        </p:nvSpPr>
        <p:spPr>
          <a:xfrm>
            <a:off x="823350" y="793234"/>
            <a:ext cx="2696700" cy="369332"/>
          </a:xfrm>
          <a:prstGeom prst="rect">
            <a:avLst/>
          </a:prstGeom>
        </p:spPr>
        <p:txBody>
          <a:bodyPr wrap="none">
            <a:spAutoFit/>
          </a:bodyPr>
          <a:lstStyle/>
          <a:p>
            <a:r>
              <a:rPr lang="en-IN" b="1" dirty="0" smtClean="0">
                <a:solidFill>
                  <a:srgbClr val="B42359"/>
                </a:solidFill>
              </a:rPr>
              <a:t>What is Desired Capability</a:t>
            </a:r>
            <a:endParaRPr lang="en-IN" b="1" dirty="0">
              <a:solidFill>
                <a:srgbClr val="B42359"/>
              </a:solidFill>
            </a:endParaRPr>
          </a:p>
        </p:txBody>
      </p:sp>
      <p:sp>
        <p:nvSpPr>
          <p:cNvPr id="10" name="Rectangle 9"/>
          <p:cNvSpPr/>
          <p:nvPr/>
        </p:nvSpPr>
        <p:spPr>
          <a:xfrm>
            <a:off x="1092200" y="1257300"/>
            <a:ext cx="7239000" cy="4801314"/>
          </a:xfrm>
          <a:prstGeom prst="rect">
            <a:avLst/>
          </a:prstGeom>
        </p:spPr>
        <p:txBody>
          <a:bodyPr wrap="square">
            <a:spAutoFit/>
          </a:bodyPr>
          <a:lstStyle/>
          <a:p>
            <a:r>
              <a:rPr lang="en-IN" i="1" dirty="0" smtClean="0">
                <a:solidFill>
                  <a:schemeClr val="tx2"/>
                </a:solidFill>
                <a:latin typeface="+mn-lt"/>
              </a:rPr>
              <a:t>The desired capability is a series of key/value pairs that stores the browser properties like </a:t>
            </a:r>
            <a:r>
              <a:rPr lang="en-IN" i="1" dirty="0" err="1" smtClean="0">
                <a:solidFill>
                  <a:schemeClr val="tx2"/>
                </a:solidFill>
                <a:latin typeface="+mn-lt"/>
              </a:rPr>
              <a:t>browserName</a:t>
            </a:r>
            <a:r>
              <a:rPr lang="en-IN" i="1" dirty="0" smtClean="0">
                <a:solidFill>
                  <a:schemeClr val="tx2"/>
                </a:solidFill>
                <a:latin typeface="+mn-lt"/>
              </a:rPr>
              <a:t>, browser version, the path of the browser driver in the system, etc. to determine the behaviour of the browser at run time.</a:t>
            </a:r>
          </a:p>
          <a:p>
            <a:endParaRPr lang="en-IN" i="1" dirty="0" smtClean="0">
              <a:solidFill>
                <a:schemeClr val="tx2"/>
              </a:solidFill>
              <a:latin typeface="+mn-lt"/>
            </a:endParaRPr>
          </a:p>
          <a:p>
            <a:r>
              <a:rPr lang="en-IN" i="1" dirty="0" smtClean="0">
                <a:solidFill>
                  <a:schemeClr val="tx2"/>
                </a:solidFill>
                <a:latin typeface="+mn-lt"/>
              </a:rPr>
              <a:t>Desired capability can also be used to configure the driver instance of Selenium WebDriver.</a:t>
            </a:r>
          </a:p>
          <a:p>
            <a:endParaRPr lang="en-IN" i="1" dirty="0" smtClean="0">
              <a:solidFill>
                <a:schemeClr val="tx2"/>
              </a:solidFill>
              <a:latin typeface="+mn-lt"/>
            </a:endParaRPr>
          </a:p>
          <a:p>
            <a:r>
              <a:rPr lang="en-IN" i="1" dirty="0" smtClean="0">
                <a:solidFill>
                  <a:schemeClr val="tx2"/>
                </a:solidFill>
                <a:latin typeface="+mn-lt"/>
              </a:rPr>
              <a:t>We can configure driver instance like </a:t>
            </a:r>
            <a:r>
              <a:rPr lang="en-IN" i="1" dirty="0" err="1" smtClean="0">
                <a:solidFill>
                  <a:schemeClr val="tx2"/>
                </a:solidFill>
                <a:latin typeface="+mn-lt"/>
              </a:rPr>
              <a:t>FirefoxDriver</a:t>
            </a:r>
            <a:r>
              <a:rPr lang="en-IN" i="1" dirty="0" smtClean="0">
                <a:solidFill>
                  <a:schemeClr val="tx2"/>
                </a:solidFill>
                <a:latin typeface="+mn-lt"/>
              </a:rPr>
              <a:t>, </a:t>
            </a:r>
            <a:r>
              <a:rPr lang="en-IN" i="1" dirty="0" err="1" smtClean="0">
                <a:solidFill>
                  <a:schemeClr val="tx2"/>
                </a:solidFill>
                <a:latin typeface="+mn-lt"/>
              </a:rPr>
              <a:t>ChromeDriver</a:t>
            </a:r>
            <a:r>
              <a:rPr lang="en-IN" i="1" dirty="0" smtClean="0">
                <a:solidFill>
                  <a:schemeClr val="tx2"/>
                </a:solidFill>
                <a:latin typeface="+mn-lt"/>
              </a:rPr>
              <a:t>, </a:t>
            </a:r>
            <a:r>
              <a:rPr lang="en-IN" i="1" dirty="0" err="1" smtClean="0">
                <a:solidFill>
                  <a:schemeClr val="tx2"/>
                </a:solidFill>
                <a:latin typeface="+mn-lt"/>
              </a:rPr>
              <a:t>InternetExplorerDriver</a:t>
            </a:r>
            <a:r>
              <a:rPr lang="en-IN" i="1" dirty="0" smtClean="0">
                <a:solidFill>
                  <a:schemeClr val="tx2"/>
                </a:solidFill>
                <a:latin typeface="+mn-lt"/>
              </a:rPr>
              <a:t> by using desired capabilities.</a:t>
            </a:r>
          </a:p>
          <a:p>
            <a:endParaRPr lang="en-IN" i="1" dirty="0" smtClean="0">
              <a:solidFill>
                <a:schemeClr val="tx2"/>
              </a:solidFill>
              <a:latin typeface="+mn-lt"/>
            </a:endParaRPr>
          </a:p>
          <a:p>
            <a:r>
              <a:rPr lang="en-IN" i="1" dirty="0" smtClean="0">
                <a:solidFill>
                  <a:schemeClr val="tx2"/>
                </a:solidFill>
                <a:latin typeface="+mn-lt"/>
              </a:rPr>
              <a:t>Desired Capabilities are more useful in cases like:</a:t>
            </a:r>
          </a:p>
          <a:p>
            <a:r>
              <a:rPr lang="en-IN" i="1" dirty="0" smtClean="0">
                <a:solidFill>
                  <a:schemeClr val="tx2"/>
                </a:solidFill>
                <a:latin typeface="+mn-lt"/>
              </a:rPr>
              <a:t>In mobile application automation, where the browser properties and the device properties can be set.</a:t>
            </a:r>
          </a:p>
          <a:p>
            <a:endParaRPr lang="en-IN" i="1" dirty="0" smtClean="0">
              <a:solidFill>
                <a:schemeClr val="tx2"/>
              </a:solidFill>
              <a:latin typeface="+mn-lt"/>
            </a:endParaRPr>
          </a:p>
          <a:p>
            <a:r>
              <a:rPr lang="en-IN" i="1" dirty="0" smtClean="0">
                <a:solidFill>
                  <a:schemeClr val="tx2"/>
                </a:solidFill>
                <a:latin typeface="+mn-lt"/>
              </a:rPr>
              <a:t>In Selenium grid when we want to run the test cases on a different browser with different operating systems and versions.</a:t>
            </a:r>
            <a:endParaRPr lang="en-IN" i="1" dirty="0">
              <a:solidFill>
                <a:schemeClr val="tx2"/>
              </a:solidFill>
              <a:latin typeface="+mn-lt"/>
            </a:endParaRPr>
          </a:p>
        </p:txBody>
      </p:sp>
    </p:spTree>
    <p:extLst>
      <p:ext uri="{BB962C8B-B14F-4D97-AF65-F5344CB8AC3E}">
        <p14:creationId xmlns:p14="http://schemas.microsoft.com/office/powerpoint/2010/main" val="41410659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Selenium Grid</a:t>
            </a:r>
            <a:endParaRPr lang="en-IN" dirty="0"/>
          </a:p>
        </p:txBody>
      </p:sp>
      <p:sp>
        <p:nvSpPr>
          <p:cNvPr id="7" name="TextBox 6"/>
          <p:cNvSpPr txBox="1"/>
          <p:nvPr/>
        </p:nvSpPr>
        <p:spPr>
          <a:xfrm>
            <a:off x="419100" y="8001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12" name="Rectangle 11"/>
          <p:cNvSpPr/>
          <p:nvPr/>
        </p:nvSpPr>
        <p:spPr>
          <a:xfrm>
            <a:off x="1092200" y="596900"/>
            <a:ext cx="7467600" cy="1200329"/>
          </a:xfrm>
          <a:prstGeom prst="rect">
            <a:avLst/>
          </a:prstGeom>
        </p:spPr>
        <p:txBody>
          <a:bodyPr wrap="square">
            <a:spAutoFit/>
          </a:bodyPr>
          <a:lstStyle/>
          <a:p>
            <a:endParaRPr lang="en-IN" i="1" dirty="0" smtClean="0">
              <a:solidFill>
                <a:srgbClr val="B42359"/>
              </a:solidFill>
            </a:endParaRPr>
          </a:p>
          <a:p>
            <a:endParaRPr lang="en-IN" i="1" dirty="0" smtClean="0">
              <a:solidFill>
                <a:srgbClr val="B42359"/>
              </a:solidFill>
            </a:endParaRPr>
          </a:p>
          <a:p>
            <a:endParaRPr lang="en-IN" dirty="0" smtClean="0"/>
          </a:p>
          <a:p>
            <a:r>
              <a:rPr lang="en-IN" dirty="0" smtClean="0"/>
              <a:t>	</a:t>
            </a:r>
            <a:endParaRPr lang="en-IN" dirty="0"/>
          </a:p>
        </p:txBody>
      </p:sp>
      <p:sp>
        <p:nvSpPr>
          <p:cNvPr id="10" name="Rectangle 9"/>
          <p:cNvSpPr/>
          <p:nvPr/>
        </p:nvSpPr>
        <p:spPr>
          <a:xfrm>
            <a:off x="927100" y="1047482"/>
            <a:ext cx="7518400" cy="4247317"/>
          </a:xfrm>
          <a:prstGeom prst="rect">
            <a:avLst/>
          </a:prstGeom>
        </p:spPr>
        <p:txBody>
          <a:bodyPr wrap="square">
            <a:spAutoFit/>
          </a:bodyPr>
          <a:lstStyle/>
          <a:p>
            <a:r>
              <a:rPr lang="en-IN" i="1" dirty="0" smtClean="0">
                <a:solidFill>
                  <a:srgbClr val="123761"/>
                </a:solidFill>
              </a:rPr>
              <a:t>package </a:t>
            </a:r>
            <a:r>
              <a:rPr lang="en-IN" i="1" dirty="0" err="1" smtClean="0">
                <a:solidFill>
                  <a:srgbClr val="123761"/>
                </a:solidFill>
              </a:rPr>
              <a:t>parallelTest</a:t>
            </a:r>
            <a:r>
              <a:rPr lang="en-IN" i="1" dirty="0" smtClean="0">
                <a:solidFill>
                  <a:srgbClr val="123761"/>
                </a:solidFill>
              </a:rPr>
              <a:t>;</a:t>
            </a:r>
          </a:p>
          <a:p>
            <a:r>
              <a:rPr lang="en-IN" i="1" dirty="0" smtClean="0">
                <a:solidFill>
                  <a:srgbClr val="123761"/>
                </a:solidFill>
              </a:rPr>
              <a:t>import </a:t>
            </a:r>
            <a:r>
              <a:rPr lang="en-IN" i="1" dirty="0" err="1" smtClean="0">
                <a:solidFill>
                  <a:srgbClr val="123761"/>
                </a:solidFill>
              </a:rPr>
              <a:t>java.util.concurrent.TimeUnit</a:t>
            </a:r>
            <a:r>
              <a:rPr lang="en-IN" i="1" dirty="0" smtClean="0">
                <a:solidFill>
                  <a:srgbClr val="123761"/>
                </a:solidFill>
              </a:rPr>
              <a:t>;</a:t>
            </a:r>
          </a:p>
          <a:p>
            <a:r>
              <a:rPr lang="en-IN" i="1" dirty="0" smtClean="0">
                <a:solidFill>
                  <a:srgbClr val="123761"/>
                </a:solidFill>
              </a:rPr>
              <a:t>import </a:t>
            </a:r>
            <a:r>
              <a:rPr lang="en-IN" i="1" dirty="0" err="1" smtClean="0">
                <a:solidFill>
                  <a:srgbClr val="123761"/>
                </a:solidFill>
              </a:rPr>
              <a:t>org.openqa.selenium.By</a:t>
            </a:r>
            <a:r>
              <a:rPr lang="en-IN" i="1" dirty="0" smtClean="0">
                <a:solidFill>
                  <a:srgbClr val="123761"/>
                </a:solidFill>
              </a:rPr>
              <a:t>;</a:t>
            </a:r>
          </a:p>
          <a:p>
            <a:r>
              <a:rPr lang="en-IN" i="1" dirty="0" smtClean="0">
                <a:solidFill>
                  <a:srgbClr val="123761"/>
                </a:solidFill>
              </a:rPr>
              <a:t>import </a:t>
            </a:r>
            <a:r>
              <a:rPr lang="en-IN" i="1" dirty="0" err="1" smtClean="0">
                <a:solidFill>
                  <a:srgbClr val="123761"/>
                </a:solidFill>
              </a:rPr>
              <a:t>org.openqa.selenium.WebDriver</a:t>
            </a:r>
            <a:r>
              <a:rPr lang="en-IN" i="1" dirty="0" smtClean="0">
                <a:solidFill>
                  <a:srgbClr val="123761"/>
                </a:solidFill>
              </a:rPr>
              <a:t>;</a:t>
            </a:r>
          </a:p>
          <a:p>
            <a:r>
              <a:rPr lang="en-IN" i="1" dirty="0" smtClean="0">
                <a:solidFill>
                  <a:srgbClr val="123761"/>
                </a:solidFill>
              </a:rPr>
              <a:t>import </a:t>
            </a:r>
            <a:r>
              <a:rPr lang="en-IN" i="1" dirty="0" err="1" smtClean="0">
                <a:solidFill>
                  <a:srgbClr val="123761"/>
                </a:solidFill>
              </a:rPr>
              <a:t>org.openqa.selenium.WebElement</a:t>
            </a:r>
            <a:r>
              <a:rPr lang="en-IN" i="1" dirty="0" smtClean="0">
                <a:solidFill>
                  <a:srgbClr val="123761"/>
                </a:solidFill>
              </a:rPr>
              <a:t>;</a:t>
            </a:r>
          </a:p>
          <a:p>
            <a:r>
              <a:rPr lang="en-IN" i="1" dirty="0" smtClean="0">
                <a:solidFill>
                  <a:srgbClr val="123761"/>
                </a:solidFill>
              </a:rPr>
              <a:t>import </a:t>
            </a:r>
            <a:r>
              <a:rPr lang="en-IN" i="1" dirty="0" err="1" smtClean="0">
                <a:solidFill>
                  <a:srgbClr val="123761"/>
                </a:solidFill>
              </a:rPr>
              <a:t>org.openqa.selenium.chrome.ChromeDriver</a:t>
            </a:r>
            <a:r>
              <a:rPr lang="en-IN" i="1" dirty="0" smtClean="0">
                <a:solidFill>
                  <a:srgbClr val="123761"/>
                </a:solidFill>
              </a:rPr>
              <a:t>;</a:t>
            </a:r>
          </a:p>
          <a:p>
            <a:r>
              <a:rPr lang="en-IN" i="1" dirty="0" smtClean="0">
                <a:solidFill>
                  <a:srgbClr val="123761"/>
                </a:solidFill>
              </a:rPr>
              <a:t>import </a:t>
            </a:r>
            <a:r>
              <a:rPr lang="en-IN" i="1" dirty="0" err="1" smtClean="0">
                <a:solidFill>
                  <a:srgbClr val="123761"/>
                </a:solidFill>
              </a:rPr>
              <a:t>org.openqa.selenium.edge.EdgeDriver</a:t>
            </a:r>
            <a:r>
              <a:rPr lang="en-IN" i="1" dirty="0" smtClean="0">
                <a:solidFill>
                  <a:srgbClr val="123761"/>
                </a:solidFill>
              </a:rPr>
              <a:t>;</a:t>
            </a:r>
          </a:p>
          <a:p>
            <a:r>
              <a:rPr lang="en-IN" i="1" dirty="0" smtClean="0">
                <a:solidFill>
                  <a:srgbClr val="123761"/>
                </a:solidFill>
              </a:rPr>
              <a:t>import </a:t>
            </a:r>
            <a:r>
              <a:rPr lang="en-IN" i="1" dirty="0" err="1" smtClean="0">
                <a:solidFill>
                  <a:srgbClr val="123761"/>
                </a:solidFill>
              </a:rPr>
              <a:t>org.openqa.selenium.firefox.FirefoxDriver</a:t>
            </a:r>
            <a:r>
              <a:rPr lang="en-IN" i="1" dirty="0" smtClean="0">
                <a:solidFill>
                  <a:srgbClr val="123761"/>
                </a:solidFill>
              </a:rPr>
              <a:t>;</a:t>
            </a:r>
          </a:p>
          <a:p>
            <a:r>
              <a:rPr lang="en-IN" i="1" dirty="0" smtClean="0">
                <a:solidFill>
                  <a:srgbClr val="123761"/>
                </a:solidFill>
              </a:rPr>
              <a:t>import </a:t>
            </a:r>
            <a:r>
              <a:rPr lang="en-IN" i="1" dirty="0" err="1" smtClean="0">
                <a:solidFill>
                  <a:srgbClr val="123761"/>
                </a:solidFill>
              </a:rPr>
              <a:t>org.testng.annotations.BeforeTest</a:t>
            </a:r>
            <a:r>
              <a:rPr lang="en-IN" i="1" dirty="0" smtClean="0">
                <a:solidFill>
                  <a:srgbClr val="123761"/>
                </a:solidFill>
              </a:rPr>
              <a:t>;</a:t>
            </a:r>
          </a:p>
          <a:p>
            <a:r>
              <a:rPr lang="en-IN" i="1" dirty="0" smtClean="0">
                <a:solidFill>
                  <a:srgbClr val="123761"/>
                </a:solidFill>
              </a:rPr>
              <a:t>import </a:t>
            </a:r>
            <a:r>
              <a:rPr lang="en-IN" i="1" dirty="0" err="1" smtClean="0">
                <a:solidFill>
                  <a:srgbClr val="123761"/>
                </a:solidFill>
              </a:rPr>
              <a:t>org.testng.annotations.Parameters</a:t>
            </a:r>
            <a:r>
              <a:rPr lang="en-IN" i="1" dirty="0" smtClean="0">
                <a:solidFill>
                  <a:srgbClr val="123761"/>
                </a:solidFill>
              </a:rPr>
              <a:t>;</a:t>
            </a:r>
          </a:p>
          <a:p>
            <a:r>
              <a:rPr lang="en-IN" i="1" dirty="0" smtClean="0">
                <a:solidFill>
                  <a:srgbClr val="123761"/>
                </a:solidFill>
              </a:rPr>
              <a:t>import </a:t>
            </a:r>
            <a:r>
              <a:rPr lang="en-IN" i="1" dirty="0" err="1" smtClean="0">
                <a:solidFill>
                  <a:srgbClr val="123761"/>
                </a:solidFill>
              </a:rPr>
              <a:t>org.testng.annotations.Test</a:t>
            </a:r>
            <a:r>
              <a:rPr lang="en-IN" i="1" dirty="0" smtClean="0">
                <a:solidFill>
                  <a:srgbClr val="123761"/>
                </a:solidFill>
              </a:rPr>
              <a:t>;</a:t>
            </a:r>
          </a:p>
          <a:p>
            <a:endParaRPr lang="en-IN" i="1" dirty="0" smtClean="0">
              <a:solidFill>
                <a:srgbClr val="123761"/>
              </a:solidFill>
            </a:endParaRPr>
          </a:p>
          <a:p>
            <a:r>
              <a:rPr lang="en-IN" i="1" dirty="0" smtClean="0">
                <a:solidFill>
                  <a:srgbClr val="123761"/>
                </a:solidFill>
              </a:rPr>
              <a:t>public class </a:t>
            </a:r>
            <a:r>
              <a:rPr lang="en-IN" i="1" dirty="0" err="1" smtClean="0">
                <a:solidFill>
                  <a:srgbClr val="123761"/>
                </a:solidFill>
              </a:rPr>
              <a:t>CrossBrowserScript</a:t>
            </a:r>
            <a:r>
              <a:rPr lang="en-IN" i="1" dirty="0" smtClean="0">
                <a:solidFill>
                  <a:srgbClr val="123761"/>
                </a:solidFill>
              </a:rPr>
              <a:t> {</a:t>
            </a:r>
          </a:p>
          <a:p>
            <a:r>
              <a:rPr lang="en-IN" i="1" dirty="0" smtClean="0">
                <a:solidFill>
                  <a:srgbClr val="123761"/>
                </a:solidFill>
              </a:rPr>
              <a:t>	WebDriver driver;</a:t>
            </a:r>
          </a:p>
          <a:p>
            <a:r>
              <a:rPr lang="en-IN" i="1" dirty="0" smtClean="0">
                <a:solidFill>
                  <a:srgbClr val="123761"/>
                </a:solidFill>
              </a:rPr>
              <a:t>	</a:t>
            </a:r>
            <a:endParaRPr lang="en-IN" i="1" dirty="0">
              <a:solidFill>
                <a:srgbClr val="123761"/>
              </a:solidFill>
            </a:endParaRPr>
          </a:p>
        </p:txBody>
      </p:sp>
    </p:spTree>
    <p:extLst>
      <p:ext uri="{BB962C8B-B14F-4D97-AF65-F5344CB8AC3E}">
        <p14:creationId xmlns:p14="http://schemas.microsoft.com/office/powerpoint/2010/main" val="178220223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Selenium Grid</a:t>
            </a:r>
            <a:endParaRPr lang="en-IN" dirty="0"/>
          </a:p>
        </p:txBody>
      </p:sp>
      <p:sp>
        <p:nvSpPr>
          <p:cNvPr id="7" name="TextBox 6"/>
          <p:cNvSpPr txBox="1"/>
          <p:nvPr/>
        </p:nvSpPr>
        <p:spPr>
          <a:xfrm>
            <a:off x="419100" y="8001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1981200" y="4394200"/>
            <a:ext cx="6591300" cy="369332"/>
          </a:xfrm>
          <a:prstGeom prst="rect">
            <a:avLst/>
          </a:prstGeom>
        </p:spPr>
        <p:txBody>
          <a:bodyPr wrap="square">
            <a:spAutoFit/>
          </a:bodyPr>
          <a:lstStyle/>
          <a:p>
            <a:r>
              <a:rPr lang="en-IN" i="1" dirty="0" smtClean="0"/>
              <a:t>.</a:t>
            </a:r>
            <a:endParaRPr lang="en-IN" i="1" dirty="0"/>
          </a:p>
        </p:txBody>
      </p:sp>
      <p:sp>
        <p:nvSpPr>
          <p:cNvPr id="12" name="Rectangle 11"/>
          <p:cNvSpPr/>
          <p:nvPr/>
        </p:nvSpPr>
        <p:spPr>
          <a:xfrm>
            <a:off x="1092200" y="596900"/>
            <a:ext cx="7467600" cy="1200329"/>
          </a:xfrm>
          <a:prstGeom prst="rect">
            <a:avLst/>
          </a:prstGeom>
        </p:spPr>
        <p:txBody>
          <a:bodyPr wrap="square">
            <a:spAutoFit/>
          </a:bodyPr>
          <a:lstStyle/>
          <a:p>
            <a:endParaRPr lang="en-IN" i="1" dirty="0" smtClean="0">
              <a:solidFill>
                <a:srgbClr val="B42359"/>
              </a:solidFill>
            </a:endParaRPr>
          </a:p>
          <a:p>
            <a:endParaRPr lang="en-IN" i="1" dirty="0" smtClean="0">
              <a:solidFill>
                <a:srgbClr val="B42359"/>
              </a:solidFill>
            </a:endParaRPr>
          </a:p>
          <a:p>
            <a:endParaRPr lang="en-IN" dirty="0" smtClean="0"/>
          </a:p>
          <a:p>
            <a:r>
              <a:rPr lang="en-IN" dirty="0" smtClean="0"/>
              <a:t>	</a:t>
            </a:r>
            <a:endParaRPr lang="en-IN" dirty="0"/>
          </a:p>
        </p:txBody>
      </p:sp>
      <p:sp>
        <p:nvSpPr>
          <p:cNvPr id="10" name="Rectangle 9"/>
          <p:cNvSpPr/>
          <p:nvPr/>
        </p:nvSpPr>
        <p:spPr>
          <a:xfrm>
            <a:off x="927100" y="995966"/>
            <a:ext cx="7518400" cy="5078313"/>
          </a:xfrm>
          <a:prstGeom prst="rect">
            <a:avLst/>
          </a:prstGeom>
        </p:spPr>
        <p:txBody>
          <a:bodyPr wrap="square">
            <a:spAutoFit/>
          </a:bodyPr>
          <a:lstStyle/>
          <a:p>
            <a:r>
              <a:rPr lang="en-IN" b="1" i="1" dirty="0" smtClean="0">
                <a:solidFill>
                  <a:srgbClr val="B42359"/>
                </a:solidFill>
              </a:rPr>
              <a:t>@</a:t>
            </a:r>
            <a:r>
              <a:rPr lang="en-IN" b="1" i="1" dirty="0" err="1" smtClean="0">
                <a:solidFill>
                  <a:srgbClr val="B42359"/>
                </a:solidFill>
              </a:rPr>
              <a:t>BeforeTest</a:t>
            </a:r>
            <a:endParaRPr lang="en-IN" b="1" i="1" dirty="0" smtClean="0">
              <a:solidFill>
                <a:srgbClr val="B42359"/>
              </a:solidFill>
            </a:endParaRPr>
          </a:p>
          <a:p>
            <a:r>
              <a:rPr lang="en-IN" i="1" dirty="0" smtClean="0">
                <a:solidFill>
                  <a:srgbClr val="123761"/>
                </a:solidFill>
              </a:rPr>
              <a:t>	</a:t>
            </a:r>
            <a:r>
              <a:rPr lang="en-IN" b="1" i="1" dirty="0" smtClean="0">
                <a:solidFill>
                  <a:srgbClr val="B42359"/>
                </a:solidFill>
              </a:rPr>
              <a:t>@Parameters("browser")</a:t>
            </a:r>
          </a:p>
          <a:p>
            <a:r>
              <a:rPr lang="en-IN" i="1" dirty="0" smtClean="0">
                <a:solidFill>
                  <a:srgbClr val="123761"/>
                </a:solidFill>
              </a:rPr>
              <a:t>	public void setup(String browser) throws Exception{</a:t>
            </a:r>
          </a:p>
          <a:p>
            <a:r>
              <a:rPr lang="en-IN" i="1" dirty="0" smtClean="0">
                <a:solidFill>
                  <a:srgbClr val="123761"/>
                </a:solidFill>
              </a:rPr>
              <a:t>		//Check if parameter passed from TestNG is '</a:t>
            </a:r>
            <a:r>
              <a:rPr lang="en-IN" i="1" dirty="0" err="1" smtClean="0">
                <a:solidFill>
                  <a:srgbClr val="123761"/>
                </a:solidFill>
              </a:rPr>
              <a:t>firefox</a:t>
            </a:r>
            <a:r>
              <a:rPr lang="en-IN" i="1" dirty="0" smtClean="0">
                <a:solidFill>
                  <a:srgbClr val="123761"/>
                </a:solidFill>
              </a:rPr>
              <a:t>'</a:t>
            </a:r>
          </a:p>
          <a:p>
            <a:r>
              <a:rPr lang="en-IN" i="1" dirty="0" smtClean="0">
                <a:solidFill>
                  <a:srgbClr val="123761"/>
                </a:solidFill>
              </a:rPr>
              <a:t>		if(</a:t>
            </a:r>
            <a:r>
              <a:rPr lang="en-IN" i="1" dirty="0" err="1" smtClean="0">
                <a:solidFill>
                  <a:srgbClr val="123761"/>
                </a:solidFill>
              </a:rPr>
              <a:t>browser.equalsIgnoreCase</a:t>
            </a:r>
            <a:r>
              <a:rPr lang="en-IN" i="1" dirty="0" smtClean="0">
                <a:solidFill>
                  <a:srgbClr val="123761"/>
                </a:solidFill>
              </a:rPr>
              <a:t>("</a:t>
            </a:r>
            <a:r>
              <a:rPr lang="en-IN" i="1" dirty="0" err="1" smtClean="0">
                <a:solidFill>
                  <a:srgbClr val="123761"/>
                </a:solidFill>
              </a:rPr>
              <a:t>firefox</a:t>
            </a:r>
            <a:r>
              <a:rPr lang="en-IN" i="1" dirty="0" smtClean="0">
                <a:solidFill>
                  <a:srgbClr val="123761"/>
                </a:solidFill>
              </a:rPr>
              <a:t>")){</a:t>
            </a:r>
          </a:p>
          <a:p>
            <a:r>
              <a:rPr lang="en-IN" i="1" dirty="0" smtClean="0">
                <a:solidFill>
                  <a:srgbClr val="123761"/>
                </a:solidFill>
              </a:rPr>
              <a:t>		//create </a:t>
            </a:r>
            <a:r>
              <a:rPr lang="en-IN" i="1" dirty="0" err="1" smtClean="0">
                <a:solidFill>
                  <a:srgbClr val="123761"/>
                </a:solidFill>
              </a:rPr>
              <a:t>firefox</a:t>
            </a:r>
            <a:r>
              <a:rPr lang="en-IN" i="1" dirty="0" smtClean="0">
                <a:solidFill>
                  <a:srgbClr val="123761"/>
                </a:solidFill>
              </a:rPr>
              <a:t> instance</a:t>
            </a:r>
          </a:p>
          <a:p>
            <a:r>
              <a:rPr lang="en-IN" i="1" dirty="0" smtClean="0">
                <a:solidFill>
                  <a:srgbClr val="123761"/>
                </a:solidFill>
              </a:rPr>
              <a:t>			</a:t>
            </a:r>
            <a:r>
              <a:rPr lang="en-IN" i="1" dirty="0" err="1" smtClean="0">
                <a:solidFill>
                  <a:srgbClr val="123761"/>
                </a:solidFill>
              </a:rPr>
              <a:t>System.setProperty</a:t>
            </a:r>
            <a:r>
              <a:rPr lang="en-IN" i="1" dirty="0" smtClean="0">
                <a:solidFill>
                  <a:srgbClr val="123761"/>
                </a:solidFill>
              </a:rPr>
              <a:t>("</a:t>
            </a:r>
            <a:r>
              <a:rPr lang="en-IN" i="1" dirty="0" err="1" smtClean="0">
                <a:solidFill>
                  <a:srgbClr val="123761"/>
                </a:solidFill>
              </a:rPr>
              <a:t>webdriver.firefox.marionette</a:t>
            </a:r>
            <a:r>
              <a:rPr lang="en-IN" i="1" dirty="0" smtClean="0">
                <a:solidFill>
                  <a:srgbClr val="123761"/>
                </a:solidFill>
              </a:rPr>
              <a:t>", ".\\geckodriver.exe");driver = new </a:t>
            </a:r>
            <a:r>
              <a:rPr lang="en-IN" i="1" dirty="0" err="1" smtClean="0">
                <a:solidFill>
                  <a:srgbClr val="123761"/>
                </a:solidFill>
              </a:rPr>
              <a:t>FirefoxDriver</a:t>
            </a:r>
            <a:r>
              <a:rPr lang="en-IN" i="1" dirty="0" smtClean="0">
                <a:solidFill>
                  <a:srgbClr val="123761"/>
                </a:solidFill>
              </a:rPr>
              <a:t>();	}</a:t>
            </a:r>
          </a:p>
          <a:p>
            <a:endParaRPr lang="en-IN" i="1" dirty="0" smtClean="0">
              <a:solidFill>
                <a:srgbClr val="123761"/>
              </a:solidFill>
            </a:endParaRPr>
          </a:p>
          <a:p>
            <a:r>
              <a:rPr lang="en-IN" i="1" dirty="0" smtClean="0">
                <a:solidFill>
                  <a:srgbClr val="123761"/>
                </a:solidFill>
              </a:rPr>
              <a:t>//Check if parameter passed as 'chrome'</a:t>
            </a:r>
          </a:p>
          <a:p>
            <a:r>
              <a:rPr lang="en-IN" i="1" dirty="0" smtClean="0">
                <a:solidFill>
                  <a:srgbClr val="123761"/>
                </a:solidFill>
              </a:rPr>
              <a:t>		else if(</a:t>
            </a:r>
            <a:r>
              <a:rPr lang="en-IN" i="1" dirty="0" err="1" smtClean="0">
                <a:solidFill>
                  <a:srgbClr val="123761"/>
                </a:solidFill>
              </a:rPr>
              <a:t>browser.equalsIgnoreCase</a:t>
            </a:r>
            <a:r>
              <a:rPr lang="en-IN" i="1" dirty="0" smtClean="0">
                <a:solidFill>
                  <a:srgbClr val="123761"/>
                </a:solidFill>
              </a:rPr>
              <a:t>("chrome")){</a:t>
            </a:r>
          </a:p>
          <a:p>
            <a:r>
              <a:rPr lang="en-IN" i="1" dirty="0" smtClean="0">
                <a:solidFill>
                  <a:srgbClr val="123761"/>
                </a:solidFill>
              </a:rPr>
              <a:t>			//set path to chromedriver.exe</a:t>
            </a:r>
          </a:p>
          <a:p>
            <a:r>
              <a:rPr lang="en-IN" i="1" dirty="0" smtClean="0">
                <a:solidFill>
                  <a:srgbClr val="123761"/>
                </a:solidFill>
              </a:rPr>
              <a:t>			</a:t>
            </a:r>
            <a:r>
              <a:rPr lang="en-IN" i="1" dirty="0" err="1" smtClean="0">
                <a:solidFill>
                  <a:srgbClr val="123761"/>
                </a:solidFill>
              </a:rPr>
              <a:t>System.setProperty</a:t>
            </a:r>
            <a:r>
              <a:rPr lang="en-IN" i="1" dirty="0" smtClean="0">
                <a:solidFill>
                  <a:srgbClr val="123761"/>
                </a:solidFill>
              </a:rPr>
              <a:t>("</a:t>
            </a:r>
            <a:r>
              <a:rPr lang="en-IN" i="1" dirty="0" err="1" smtClean="0">
                <a:solidFill>
                  <a:srgbClr val="123761"/>
                </a:solidFill>
              </a:rPr>
              <a:t>webdriver.chrome.driver</a:t>
            </a:r>
            <a:r>
              <a:rPr lang="en-IN" i="1" dirty="0" smtClean="0">
                <a:solidFill>
                  <a:srgbClr val="123761"/>
                </a:solidFill>
              </a:rPr>
              <a:t>",".\\chromedriver.exe");</a:t>
            </a:r>
          </a:p>
          <a:p>
            <a:r>
              <a:rPr lang="en-IN" i="1" dirty="0" smtClean="0">
                <a:solidFill>
                  <a:srgbClr val="123761"/>
                </a:solidFill>
              </a:rPr>
              <a:t>			//create chrome instance</a:t>
            </a:r>
          </a:p>
          <a:p>
            <a:r>
              <a:rPr lang="en-IN" i="1" dirty="0" smtClean="0">
                <a:solidFill>
                  <a:srgbClr val="123761"/>
                </a:solidFill>
              </a:rPr>
              <a:t>			driver = new </a:t>
            </a:r>
            <a:r>
              <a:rPr lang="en-IN" i="1" dirty="0" err="1" smtClean="0">
                <a:solidFill>
                  <a:srgbClr val="123761"/>
                </a:solidFill>
              </a:rPr>
              <a:t>ChromeDriver</a:t>
            </a:r>
            <a:r>
              <a:rPr lang="en-IN" i="1" dirty="0" smtClean="0">
                <a:solidFill>
                  <a:srgbClr val="123761"/>
                </a:solidFill>
              </a:rPr>
              <a:t>();</a:t>
            </a:r>
          </a:p>
          <a:p>
            <a:r>
              <a:rPr lang="en-IN" i="1" dirty="0" smtClean="0">
                <a:solidFill>
                  <a:srgbClr val="123761"/>
                </a:solidFill>
              </a:rPr>
              <a:t>		}</a:t>
            </a:r>
          </a:p>
          <a:p>
            <a:endParaRPr lang="en-IN" i="1" dirty="0">
              <a:solidFill>
                <a:srgbClr val="123761"/>
              </a:solidFill>
            </a:endParaRPr>
          </a:p>
        </p:txBody>
      </p:sp>
    </p:spTree>
    <p:extLst>
      <p:ext uri="{BB962C8B-B14F-4D97-AF65-F5344CB8AC3E}">
        <p14:creationId xmlns:p14="http://schemas.microsoft.com/office/powerpoint/2010/main" val="241847748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Selenium Grid</a:t>
            </a:r>
            <a:endParaRPr lang="en-IN" dirty="0"/>
          </a:p>
        </p:txBody>
      </p:sp>
      <p:sp>
        <p:nvSpPr>
          <p:cNvPr id="7" name="TextBox 6"/>
          <p:cNvSpPr txBox="1"/>
          <p:nvPr/>
        </p:nvSpPr>
        <p:spPr>
          <a:xfrm>
            <a:off x="419100" y="873899"/>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1981200" y="4394200"/>
            <a:ext cx="6591300" cy="369332"/>
          </a:xfrm>
          <a:prstGeom prst="rect">
            <a:avLst/>
          </a:prstGeom>
        </p:spPr>
        <p:txBody>
          <a:bodyPr wrap="square">
            <a:spAutoFit/>
          </a:bodyPr>
          <a:lstStyle/>
          <a:p>
            <a:r>
              <a:rPr lang="en-IN" i="1" dirty="0" smtClean="0"/>
              <a:t>.</a:t>
            </a:r>
            <a:endParaRPr lang="en-IN" i="1" dirty="0"/>
          </a:p>
        </p:txBody>
      </p:sp>
      <p:sp>
        <p:nvSpPr>
          <p:cNvPr id="12" name="Rectangle 11"/>
          <p:cNvSpPr/>
          <p:nvPr/>
        </p:nvSpPr>
        <p:spPr>
          <a:xfrm>
            <a:off x="1092200" y="596900"/>
            <a:ext cx="7467600" cy="1200329"/>
          </a:xfrm>
          <a:prstGeom prst="rect">
            <a:avLst/>
          </a:prstGeom>
        </p:spPr>
        <p:txBody>
          <a:bodyPr wrap="square">
            <a:spAutoFit/>
          </a:bodyPr>
          <a:lstStyle/>
          <a:p>
            <a:endParaRPr lang="en-IN" i="1" dirty="0" smtClean="0">
              <a:solidFill>
                <a:srgbClr val="B42359"/>
              </a:solidFill>
            </a:endParaRPr>
          </a:p>
          <a:p>
            <a:endParaRPr lang="en-IN" i="1" dirty="0" smtClean="0">
              <a:solidFill>
                <a:srgbClr val="B42359"/>
              </a:solidFill>
            </a:endParaRPr>
          </a:p>
          <a:p>
            <a:endParaRPr lang="en-IN" dirty="0" smtClean="0"/>
          </a:p>
          <a:p>
            <a:r>
              <a:rPr lang="en-IN" dirty="0" smtClean="0"/>
              <a:t>	</a:t>
            </a:r>
            <a:endParaRPr lang="en-IN" dirty="0"/>
          </a:p>
        </p:txBody>
      </p:sp>
      <p:sp>
        <p:nvSpPr>
          <p:cNvPr id="10" name="Rectangle 9"/>
          <p:cNvSpPr/>
          <p:nvPr/>
        </p:nvSpPr>
        <p:spPr>
          <a:xfrm>
            <a:off x="812800" y="1073656"/>
            <a:ext cx="7518400" cy="3970318"/>
          </a:xfrm>
          <a:prstGeom prst="rect">
            <a:avLst/>
          </a:prstGeom>
        </p:spPr>
        <p:txBody>
          <a:bodyPr wrap="square">
            <a:spAutoFit/>
          </a:bodyPr>
          <a:lstStyle/>
          <a:p>
            <a:r>
              <a:rPr lang="en-IN" i="1" dirty="0" smtClean="0">
                <a:solidFill>
                  <a:srgbClr val="123761"/>
                </a:solidFill>
              </a:rPr>
              <a:t>		//Check if parameter passed as 'Edge'</a:t>
            </a:r>
          </a:p>
          <a:p>
            <a:r>
              <a:rPr lang="en-IN" i="1" dirty="0" smtClean="0">
                <a:solidFill>
                  <a:srgbClr val="123761"/>
                </a:solidFill>
              </a:rPr>
              <a:t>				else if(</a:t>
            </a:r>
            <a:r>
              <a:rPr lang="en-IN" i="1" dirty="0" err="1" smtClean="0">
                <a:solidFill>
                  <a:srgbClr val="123761"/>
                </a:solidFill>
              </a:rPr>
              <a:t>browser.equalsIgnoreCase</a:t>
            </a:r>
            <a:r>
              <a:rPr lang="en-IN" i="1" dirty="0" smtClean="0">
                <a:solidFill>
                  <a:srgbClr val="123761"/>
                </a:solidFill>
              </a:rPr>
              <a:t>("Edge")){</a:t>
            </a:r>
          </a:p>
          <a:p>
            <a:r>
              <a:rPr lang="en-IN" i="1" dirty="0" smtClean="0">
                <a:solidFill>
                  <a:srgbClr val="123761"/>
                </a:solidFill>
              </a:rPr>
              <a:t>					//set path to Edge.exe</a:t>
            </a:r>
          </a:p>
          <a:p>
            <a:r>
              <a:rPr lang="en-IN" i="1" dirty="0" smtClean="0">
                <a:solidFill>
                  <a:srgbClr val="123761"/>
                </a:solidFill>
              </a:rPr>
              <a:t>					</a:t>
            </a:r>
            <a:r>
              <a:rPr lang="en-IN" i="1" dirty="0" err="1" smtClean="0">
                <a:solidFill>
                  <a:srgbClr val="123761"/>
                </a:solidFill>
              </a:rPr>
              <a:t>System.setProperty</a:t>
            </a:r>
            <a:r>
              <a:rPr lang="en-IN" i="1" dirty="0" smtClean="0">
                <a:solidFill>
                  <a:srgbClr val="123761"/>
                </a:solidFill>
              </a:rPr>
              <a:t>("</a:t>
            </a:r>
            <a:r>
              <a:rPr lang="en-IN" i="1" dirty="0" err="1" smtClean="0">
                <a:solidFill>
                  <a:srgbClr val="123761"/>
                </a:solidFill>
              </a:rPr>
              <a:t>webdriver.edge.driver</a:t>
            </a:r>
            <a:r>
              <a:rPr lang="en-IN" i="1" dirty="0" smtClean="0">
                <a:solidFill>
                  <a:srgbClr val="123761"/>
                </a:solidFill>
              </a:rPr>
              <a:t>",".\\MicrosoftWebDriver.exe");</a:t>
            </a:r>
          </a:p>
          <a:p>
            <a:r>
              <a:rPr lang="en-IN" i="1" dirty="0" smtClean="0">
                <a:solidFill>
                  <a:srgbClr val="123761"/>
                </a:solidFill>
              </a:rPr>
              <a:t>					//create Edge instance</a:t>
            </a:r>
          </a:p>
          <a:p>
            <a:r>
              <a:rPr lang="en-IN" i="1" dirty="0" smtClean="0">
                <a:solidFill>
                  <a:srgbClr val="123761"/>
                </a:solidFill>
              </a:rPr>
              <a:t>					driver = new </a:t>
            </a:r>
            <a:r>
              <a:rPr lang="en-IN" i="1" dirty="0" err="1" smtClean="0">
                <a:solidFill>
                  <a:srgbClr val="123761"/>
                </a:solidFill>
              </a:rPr>
              <a:t>EdgeDriver</a:t>
            </a:r>
            <a:r>
              <a:rPr lang="en-IN" i="1" dirty="0" smtClean="0">
                <a:solidFill>
                  <a:srgbClr val="123761"/>
                </a:solidFill>
              </a:rPr>
              <a:t>();</a:t>
            </a:r>
          </a:p>
          <a:p>
            <a:r>
              <a:rPr lang="en-IN" i="1" dirty="0" smtClean="0">
                <a:solidFill>
                  <a:srgbClr val="123761"/>
                </a:solidFill>
              </a:rPr>
              <a:t>				}</a:t>
            </a:r>
          </a:p>
          <a:p>
            <a:r>
              <a:rPr lang="en-IN" i="1" dirty="0" smtClean="0">
                <a:solidFill>
                  <a:srgbClr val="123761"/>
                </a:solidFill>
              </a:rPr>
              <a:t>		else{</a:t>
            </a:r>
          </a:p>
          <a:p>
            <a:r>
              <a:rPr lang="en-IN" i="1" dirty="0" smtClean="0">
                <a:solidFill>
                  <a:srgbClr val="123761"/>
                </a:solidFill>
              </a:rPr>
              <a:t>			//If no browser passed throw exception</a:t>
            </a:r>
          </a:p>
          <a:p>
            <a:r>
              <a:rPr lang="en-IN" i="1" dirty="0" smtClean="0">
                <a:solidFill>
                  <a:srgbClr val="123761"/>
                </a:solidFill>
              </a:rPr>
              <a:t>			throw new Exception("Browser is not correct");</a:t>
            </a:r>
          </a:p>
          <a:p>
            <a:r>
              <a:rPr lang="en-IN" i="1" dirty="0" smtClean="0">
                <a:solidFill>
                  <a:srgbClr val="123761"/>
                </a:solidFill>
              </a:rPr>
              <a:t>		}</a:t>
            </a:r>
          </a:p>
          <a:p>
            <a:r>
              <a:rPr lang="en-IN" i="1" dirty="0" smtClean="0">
                <a:solidFill>
                  <a:srgbClr val="123761"/>
                </a:solidFill>
              </a:rPr>
              <a:t>		</a:t>
            </a:r>
            <a:r>
              <a:rPr lang="en-IN" i="1" dirty="0" err="1" smtClean="0">
                <a:solidFill>
                  <a:srgbClr val="123761"/>
                </a:solidFill>
              </a:rPr>
              <a:t>driver.manage</a:t>
            </a:r>
            <a:r>
              <a:rPr lang="en-IN" i="1" dirty="0" smtClean="0">
                <a:solidFill>
                  <a:srgbClr val="123761"/>
                </a:solidFill>
              </a:rPr>
              <a:t>().timeouts().</a:t>
            </a:r>
            <a:r>
              <a:rPr lang="en-IN" i="1" dirty="0" err="1" smtClean="0">
                <a:solidFill>
                  <a:srgbClr val="123761"/>
                </a:solidFill>
              </a:rPr>
              <a:t>implicitlyWait</a:t>
            </a:r>
            <a:r>
              <a:rPr lang="en-IN" i="1" dirty="0" smtClean="0">
                <a:solidFill>
                  <a:srgbClr val="123761"/>
                </a:solidFill>
              </a:rPr>
              <a:t>(10, </a:t>
            </a:r>
            <a:r>
              <a:rPr lang="en-IN" i="1" dirty="0" err="1" smtClean="0">
                <a:solidFill>
                  <a:srgbClr val="123761"/>
                </a:solidFill>
              </a:rPr>
              <a:t>TimeUnit.SECONDS</a:t>
            </a:r>
            <a:r>
              <a:rPr lang="en-IN" i="1" dirty="0" smtClean="0">
                <a:solidFill>
                  <a:srgbClr val="123761"/>
                </a:solidFill>
              </a:rPr>
              <a:t>);</a:t>
            </a:r>
          </a:p>
          <a:p>
            <a:r>
              <a:rPr lang="en-IN" i="1" dirty="0" smtClean="0">
                <a:solidFill>
                  <a:srgbClr val="123761"/>
                </a:solidFill>
              </a:rPr>
              <a:t>	}</a:t>
            </a:r>
            <a:endParaRPr lang="en-IN" i="1" dirty="0">
              <a:solidFill>
                <a:srgbClr val="123761"/>
              </a:solidFill>
            </a:endParaRPr>
          </a:p>
        </p:txBody>
      </p:sp>
    </p:spTree>
    <p:extLst>
      <p:ext uri="{BB962C8B-B14F-4D97-AF65-F5344CB8AC3E}">
        <p14:creationId xmlns:p14="http://schemas.microsoft.com/office/powerpoint/2010/main" val="18601010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Selenium Grid</a:t>
            </a:r>
            <a:endParaRPr lang="en-IN" dirty="0"/>
          </a:p>
        </p:txBody>
      </p:sp>
      <p:sp>
        <p:nvSpPr>
          <p:cNvPr id="7" name="TextBox 6"/>
          <p:cNvSpPr txBox="1"/>
          <p:nvPr/>
        </p:nvSpPr>
        <p:spPr>
          <a:xfrm>
            <a:off x="419100" y="8001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1981200" y="4394200"/>
            <a:ext cx="6591300" cy="369332"/>
          </a:xfrm>
          <a:prstGeom prst="rect">
            <a:avLst/>
          </a:prstGeom>
        </p:spPr>
        <p:txBody>
          <a:bodyPr wrap="square">
            <a:spAutoFit/>
          </a:bodyPr>
          <a:lstStyle/>
          <a:p>
            <a:r>
              <a:rPr lang="en-IN" i="1" dirty="0" smtClean="0"/>
              <a:t>.</a:t>
            </a:r>
            <a:endParaRPr lang="en-IN" i="1" dirty="0"/>
          </a:p>
        </p:txBody>
      </p:sp>
      <p:sp>
        <p:nvSpPr>
          <p:cNvPr id="12" name="Rectangle 11"/>
          <p:cNvSpPr/>
          <p:nvPr/>
        </p:nvSpPr>
        <p:spPr>
          <a:xfrm>
            <a:off x="1092200" y="596900"/>
            <a:ext cx="7467600" cy="1200329"/>
          </a:xfrm>
          <a:prstGeom prst="rect">
            <a:avLst/>
          </a:prstGeom>
        </p:spPr>
        <p:txBody>
          <a:bodyPr wrap="square">
            <a:spAutoFit/>
          </a:bodyPr>
          <a:lstStyle/>
          <a:p>
            <a:endParaRPr lang="en-IN" i="1" dirty="0" smtClean="0">
              <a:solidFill>
                <a:srgbClr val="B42359"/>
              </a:solidFill>
            </a:endParaRPr>
          </a:p>
          <a:p>
            <a:endParaRPr lang="en-IN" i="1" dirty="0" smtClean="0">
              <a:solidFill>
                <a:srgbClr val="B42359"/>
              </a:solidFill>
            </a:endParaRPr>
          </a:p>
          <a:p>
            <a:endParaRPr lang="en-IN" dirty="0" smtClean="0"/>
          </a:p>
          <a:p>
            <a:r>
              <a:rPr lang="en-IN" dirty="0" smtClean="0"/>
              <a:t>	</a:t>
            </a:r>
            <a:endParaRPr lang="en-IN" dirty="0"/>
          </a:p>
        </p:txBody>
      </p:sp>
      <p:sp>
        <p:nvSpPr>
          <p:cNvPr id="10" name="Rectangle 9"/>
          <p:cNvSpPr/>
          <p:nvPr/>
        </p:nvSpPr>
        <p:spPr>
          <a:xfrm>
            <a:off x="812799" y="609600"/>
            <a:ext cx="8228169" cy="5909310"/>
          </a:xfrm>
          <a:prstGeom prst="rect">
            <a:avLst/>
          </a:prstGeom>
        </p:spPr>
        <p:txBody>
          <a:bodyPr wrap="square">
            <a:spAutoFit/>
          </a:bodyPr>
          <a:lstStyle/>
          <a:p>
            <a:r>
              <a:rPr lang="en-IN" i="1" dirty="0" smtClean="0">
                <a:solidFill>
                  <a:srgbClr val="123761"/>
                </a:solidFill>
              </a:rPr>
              <a:t>@Test</a:t>
            </a:r>
          </a:p>
          <a:p>
            <a:r>
              <a:rPr lang="en-IN" i="1" dirty="0" smtClean="0">
                <a:solidFill>
                  <a:srgbClr val="123761"/>
                </a:solidFill>
              </a:rPr>
              <a:t>	public void </a:t>
            </a:r>
            <a:r>
              <a:rPr lang="en-IN" i="1" dirty="0" err="1" smtClean="0">
                <a:solidFill>
                  <a:srgbClr val="123761"/>
                </a:solidFill>
              </a:rPr>
              <a:t>testParameterWithXML</a:t>
            </a:r>
            <a:r>
              <a:rPr lang="en-IN" i="1" dirty="0" smtClean="0">
                <a:solidFill>
                  <a:srgbClr val="123761"/>
                </a:solidFill>
              </a:rPr>
              <a:t>() throws </a:t>
            </a:r>
            <a:r>
              <a:rPr lang="en-IN" i="1" dirty="0" err="1" smtClean="0">
                <a:solidFill>
                  <a:srgbClr val="123761"/>
                </a:solidFill>
              </a:rPr>
              <a:t>InterruptedException</a:t>
            </a:r>
            <a:r>
              <a:rPr lang="en-IN" i="1" dirty="0" smtClean="0">
                <a:solidFill>
                  <a:srgbClr val="123761"/>
                </a:solidFill>
              </a:rPr>
              <a:t>{</a:t>
            </a:r>
          </a:p>
          <a:p>
            <a:r>
              <a:rPr lang="en-IN" i="1" dirty="0" smtClean="0">
                <a:solidFill>
                  <a:srgbClr val="123761"/>
                </a:solidFill>
              </a:rPr>
              <a:t>		driver.get("http://www.gmail.com");</a:t>
            </a:r>
          </a:p>
          <a:p>
            <a:r>
              <a:rPr lang="en-IN" i="1" dirty="0" smtClean="0">
                <a:solidFill>
                  <a:srgbClr val="123761"/>
                </a:solidFill>
              </a:rPr>
              <a:t>		//Find user name</a:t>
            </a:r>
          </a:p>
          <a:p>
            <a:r>
              <a:rPr lang="en-IN" i="1" dirty="0" smtClean="0">
                <a:solidFill>
                  <a:srgbClr val="123761"/>
                </a:solidFill>
              </a:rPr>
              <a:t>		</a:t>
            </a:r>
            <a:r>
              <a:rPr lang="en-IN" i="1" dirty="0" err="1" smtClean="0">
                <a:solidFill>
                  <a:srgbClr val="123761"/>
                </a:solidFill>
              </a:rPr>
              <a:t>WebElement</a:t>
            </a:r>
            <a:r>
              <a:rPr lang="en-IN" i="1" dirty="0" smtClean="0">
                <a:solidFill>
                  <a:srgbClr val="123761"/>
                </a:solidFill>
              </a:rPr>
              <a:t> </a:t>
            </a:r>
            <a:r>
              <a:rPr lang="en-IN" i="1" dirty="0" err="1" smtClean="0">
                <a:solidFill>
                  <a:srgbClr val="123761"/>
                </a:solidFill>
              </a:rPr>
              <a:t>userName</a:t>
            </a:r>
            <a:r>
              <a:rPr lang="en-IN" i="1" dirty="0" smtClean="0">
                <a:solidFill>
                  <a:srgbClr val="123761"/>
                </a:solidFill>
              </a:rPr>
              <a:t> = </a:t>
            </a:r>
            <a:r>
              <a:rPr lang="en-IN" i="1" dirty="0" err="1" smtClean="0">
                <a:solidFill>
                  <a:srgbClr val="123761"/>
                </a:solidFill>
              </a:rPr>
              <a:t>driver.findElement</a:t>
            </a:r>
            <a:r>
              <a:rPr lang="en-IN" i="1" dirty="0" smtClean="0">
                <a:solidFill>
                  <a:srgbClr val="123761"/>
                </a:solidFill>
              </a:rPr>
              <a:t>(By.name("</a:t>
            </a:r>
            <a:r>
              <a:rPr lang="en-IN" i="1" dirty="0" err="1" smtClean="0">
                <a:solidFill>
                  <a:srgbClr val="123761"/>
                </a:solidFill>
              </a:rPr>
              <a:t>uid</a:t>
            </a:r>
            <a:r>
              <a:rPr lang="en-IN" i="1" dirty="0" smtClean="0">
                <a:solidFill>
                  <a:srgbClr val="123761"/>
                </a:solidFill>
              </a:rPr>
              <a:t>"));</a:t>
            </a:r>
          </a:p>
          <a:p>
            <a:r>
              <a:rPr lang="en-IN" i="1" dirty="0" smtClean="0">
                <a:solidFill>
                  <a:srgbClr val="123761"/>
                </a:solidFill>
              </a:rPr>
              <a:t>		//Fill user name</a:t>
            </a:r>
          </a:p>
          <a:p>
            <a:r>
              <a:rPr lang="en-IN" i="1" dirty="0" smtClean="0">
                <a:solidFill>
                  <a:srgbClr val="123761"/>
                </a:solidFill>
              </a:rPr>
              <a:t>		</a:t>
            </a:r>
            <a:r>
              <a:rPr lang="en-IN" i="1" dirty="0" err="1" smtClean="0">
                <a:solidFill>
                  <a:srgbClr val="123761"/>
                </a:solidFill>
              </a:rPr>
              <a:t>userName.sendKeys</a:t>
            </a:r>
            <a:r>
              <a:rPr lang="en-IN" i="1" dirty="0" smtClean="0">
                <a:solidFill>
                  <a:srgbClr val="123761"/>
                </a:solidFill>
              </a:rPr>
              <a:t>(“test");</a:t>
            </a:r>
          </a:p>
          <a:p>
            <a:r>
              <a:rPr lang="en-IN" i="1" dirty="0" smtClean="0">
                <a:solidFill>
                  <a:srgbClr val="123761"/>
                </a:solidFill>
              </a:rPr>
              <a:t>		//Find password</a:t>
            </a:r>
          </a:p>
          <a:p>
            <a:r>
              <a:rPr lang="en-IN" i="1" dirty="0" smtClean="0">
                <a:solidFill>
                  <a:srgbClr val="123761"/>
                </a:solidFill>
              </a:rPr>
              <a:t>		</a:t>
            </a:r>
            <a:r>
              <a:rPr lang="en-IN" i="1" dirty="0" err="1" smtClean="0">
                <a:solidFill>
                  <a:srgbClr val="123761"/>
                </a:solidFill>
              </a:rPr>
              <a:t>WebElement</a:t>
            </a:r>
            <a:r>
              <a:rPr lang="en-IN" i="1" dirty="0" smtClean="0">
                <a:solidFill>
                  <a:srgbClr val="123761"/>
                </a:solidFill>
              </a:rPr>
              <a:t> password = </a:t>
            </a:r>
            <a:r>
              <a:rPr lang="en-IN" i="1" dirty="0" err="1" smtClean="0">
                <a:solidFill>
                  <a:srgbClr val="123761"/>
                </a:solidFill>
              </a:rPr>
              <a:t>driver.findElement</a:t>
            </a:r>
            <a:r>
              <a:rPr lang="en-IN" i="1" dirty="0" smtClean="0">
                <a:solidFill>
                  <a:srgbClr val="123761"/>
                </a:solidFill>
              </a:rPr>
              <a:t>(By.name("password"));</a:t>
            </a:r>
          </a:p>
          <a:p>
            <a:r>
              <a:rPr lang="en-IN" i="1" dirty="0" smtClean="0">
                <a:solidFill>
                  <a:srgbClr val="123761"/>
                </a:solidFill>
              </a:rPr>
              <a:t>		//Fill password</a:t>
            </a:r>
          </a:p>
          <a:p>
            <a:r>
              <a:rPr lang="en-IN" i="1" dirty="0" smtClean="0">
                <a:solidFill>
                  <a:srgbClr val="123761"/>
                </a:solidFill>
              </a:rPr>
              <a:t>		</a:t>
            </a:r>
            <a:r>
              <a:rPr lang="en-IN" i="1" dirty="0" err="1" smtClean="0">
                <a:solidFill>
                  <a:srgbClr val="123761"/>
                </a:solidFill>
              </a:rPr>
              <a:t>password.sendKeys</a:t>
            </a:r>
            <a:r>
              <a:rPr lang="en-IN" i="1" dirty="0" smtClean="0">
                <a:solidFill>
                  <a:srgbClr val="123761"/>
                </a:solidFill>
              </a:rPr>
              <a:t>(“testing123");}</a:t>
            </a:r>
          </a:p>
          <a:p>
            <a:r>
              <a:rPr lang="en-IN" i="1" dirty="0" smtClean="0">
                <a:solidFill>
                  <a:srgbClr val="123761"/>
                </a:solidFill>
              </a:rPr>
              <a:t>}</a:t>
            </a:r>
          </a:p>
          <a:p>
            <a:r>
              <a:rPr lang="en-IN" b="1" i="1" dirty="0" smtClean="0">
                <a:solidFill>
                  <a:srgbClr val="B42359"/>
                </a:solidFill>
              </a:rPr>
              <a:t>TestNG Xml:</a:t>
            </a:r>
          </a:p>
          <a:p>
            <a:r>
              <a:rPr lang="en-IN" i="1" dirty="0" smtClean="0">
                <a:solidFill>
                  <a:srgbClr val="B42359"/>
                </a:solidFill>
              </a:rPr>
              <a:t>&lt;?xml version="1.0" encoding="UTF-8"?&gt; &lt;!DOCTYPE suite SYSTEM "http://testng.org/testng-1.0.dtd"&gt; </a:t>
            </a:r>
          </a:p>
          <a:p>
            <a:r>
              <a:rPr lang="en-IN" i="1" dirty="0" smtClean="0">
                <a:solidFill>
                  <a:srgbClr val="B42359"/>
                </a:solidFill>
              </a:rPr>
              <a:t>&lt;suite name="</a:t>
            </a:r>
            <a:r>
              <a:rPr lang="en-IN" i="1" dirty="0" err="1" smtClean="0">
                <a:solidFill>
                  <a:srgbClr val="B42359"/>
                </a:solidFill>
              </a:rPr>
              <a:t>TestSuite</a:t>
            </a:r>
            <a:r>
              <a:rPr lang="en-IN" i="1" dirty="0" smtClean="0">
                <a:solidFill>
                  <a:srgbClr val="B42359"/>
                </a:solidFill>
              </a:rPr>
              <a:t>" thread-count="2" parallel="tests" &gt;</a:t>
            </a:r>
          </a:p>
          <a:p>
            <a:r>
              <a:rPr lang="en-IN" i="1" dirty="0" smtClean="0">
                <a:solidFill>
                  <a:srgbClr val="B42359"/>
                </a:solidFill>
              </a:rPr>
              <a:t> &lt;test name="</a:t>
            </a:r>
            <a:r>
              <a:rPr lang="en-IN" i="1" dirty="0" err="1" smtClean="0">
                <a:solidFill>
                  <a:srgbClr val="B42359"/>
                </a:solidFill>
              </a:rPr>
              <a:t>ChromeTest</a:t>
            </a:r>
            <a:r>
              <a:rPr lang="en-IN" i="1" dirty="0" smtClean="0">
                <a:solidFill>
                  <a:srgbClr val="B42359"/>
                </a:solidFill>
              </a:rPr>
              <a:t>"&gt;</a:t>
            </a:r>
          </a:p>
          <a:p>
            <a:r>
              <a:rPr lang="en-IN" i="1" dirty="0" smtClean="0">
                <a:solidFill>
                  <a:srgbClr val="B42359"/>
                </a:solidFill>
              </a:rPr>
              <a:t> &lt;parameter name="browser" value="Chrome" /&gt; </a:t>
            </a:r>
          </a:p>
          <a:p>
            <a:r>
              <a:rPr lang="en-IN" i="1" dirty="0" smtClean="0">
                <a:solidFill>
                  <a:srgbClr val="B42359"/>
                </a:solidFill>
              </a:rPr>
              <a:t>&lt;classes&gt; &lt;class name="</a:t>
            </a:r>
            <a:r>
              <a:rPr lang="en-IN" i="1" dirty="0" err="1" smtClean="0">
                <a:solidFill>
                  <a:srgbClr val="B42359"/>
                </a:solidFill>
              </a:rPr>
              <a:t>parallelTest.CrossBrowserScript</a:t>
            </a:r>
            <a:r>
              <a:rPr lang="en-IN" i="1" dirty="0" smtClean="0">
                <a:solidFill>
                  <a:srgbClr val="B42359"/>
                </a:solidFill>
              </a:rPr>
              <a:t>"&gt; </a:t>
            </a:r>
          </a:p>
          <a:p>
            <a:r>
              <a:rPr lang="en-IN" i="1" dirty="0" smtClean="0">
                <a:solidFill>
                  <a:srgbClr val="B42359"/>
                </a:solidFill>
              </a:rPr>
              <a:t>&lt;/class&gt; </a:t>
            </a:r>
          </a:p>
          <a:p>
            <a:r>
              <a:rPr lang="en-IN" i="1" dirty="0" smtClean="0">
                <a:solidFill>
                  <a:srgbClr val="B42359"/>
                </a:solidFill>
              </a:rPr>
              <a:t>&lt;/classes&gt;</a:t>
            </a:r>
            <a:endParaRPr lang="en-IN" i="1" dirty="0">
              <a:solidFill>
                <a:srgbClr val="B42359"/>
              </a:solidFill>
            </a:endParaRPr>
          </a:p>
        </p:txBody>
      </p:sp>
    </p:spTree>
    <p:extLst>
      <p:ext uri="{BB962C8B-B14F-4D97-AF65-F5344CB8AC3E}">
        <p14:creationId xmlns:p14="http://schemas.microsoft.com/office/powerpoint/2010/main" val="200610759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Selenium Grid</a:t>
            </a:r>
            <a:endParaRPr lang="en-IN" dirty="0"/>
          </a:p>
        </p:txBody>
      </p:sp>
      <p:sp>
        <p:nvSpPr>
          <p:cNvPr id="7" name="TextBox 6"/>
          <p:cNvSpPr txBox="1"/>
          <p:nvPr/>
        </p:nvSpPr>
        <p:spPr>
          <a:xfrm>
            <a:off x="419100" y="8001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1981200" y="4394200"/>
            <a:ext cx="6591300" cy="369332"/>
          </a:xfrm>
          <a:prstGeom prst="rect">
            <a:avLst/>
          </a:prstGeom>
        </p:spPr>
        <p:txBody>
          <a:bodyPr wrap="square">
            <a:spAutoFit/>
          </a:bodyPr>
          <a:lstStyle/>
          <a:p>
            <a:r>
              <a:rPr lang="en-IN" i="1" dirty="0" smtClean="0"/>
              <a:t>.</a:t>
            </a:r>
            <a:endParaRPr lang="en-IN" i="1" dirty="0"/>
          </a:p>
        </p:txBody>
      </p:sp>
      <p:sp>
        <p:nvSpPr>
          <p:cNvPr id="12" name="Rectangle 11"/>
          <p:cNvSpPr/>
          <p:nvPr/>
        </p:nvSpPr>
        <p:spPr>
          <a:xfrm>
            <a:off x="1092200" y="596900"/>
            <a:ext cx="7467600" cy="1200329"/>
          </a:xfrm>
          <a:prstGeom prst="rect">
            <a:avLst/>
          </a:prstGeom>
        </p:spPr>
        <p:txBody>
          <a:bodyPr wrap="square">
            <a:spAutoFit/>
          </a:bodyPr>
          <a:lstStyle/>
          <a:p>
            <a:endParaRPr lang="en-IN" i="1" dirty="0" smtClean="0">
              <a:solidFill>
                <a:srgbClr val="B42359"/>
              </a:solidFill>
            </a:endParaRPr>
          </a:p>
          <a:p>
            <a:endParaRPr lang="en-IN" i="1" dirty="0" smtClean="0">
              <a:solidFill>
                <a:srgbClr val="B42359"/>
              </a:solidFill>
            </a:endParaRPr>
          </a:p>
          <a:p>
            <a:endParaRPr lang="en-IN" dirty="0" smtClean="0"/>
          </a:p>
          <a:p>
            <a:r>
              <a:rPr lang="en-IN" dirty="0" smtClean="0"/>
              <a:t>	</a:t>
            </a:r>
            <a:endParaRPr lang="en-IN" dirty="0"/>
          </a:p>
        </p:txBody>
      </p:sp>
      <p:sp>
        <p:nvSpPr>
          <p:cNvPr id="10" name="Rectangle 9"/>
          <p:cNvSpPr/>
          <p:nvPr/>
        </p:nvSpPr>
        <p:spPr>
          <a:xfrm>
            <a:off x="927100" y="1197064"/>
            <a:ext cx="7518400" cy="4247317"/>
          </a:xfrm>
          <a:prstGeom prst="rect">
            <a:avLst/>
          </a:prstGeom>
        </p:spPr>
        <p:txBody>
          <a:bodyPr wrap="square">
            <a:spAutoFit/>
          </a:bodyPr>
          <a:lstStyle/>
          <a:p>
            <a:r>
              <a:rPr lang="en-IN" i="1" dirty="0" smtClean="0">
                <a:solidFill>
                  <a:srgbClr val="B42359"/>
                </a:solidFill>
              </a:rPr>
              <a:t>&lt;test name="</a:t>
            </a:r>
            <a:r>
              <a:rPr lang="en-IN" i="1" dirty="0" err="1" smtClean="0">
                <a:solidFill>
                  <a:srgbClr val="B42359"/>
                </a:solidFill>
              </a:rPr>
              <a:t>FirefoxTest</a:t>
            </a:r>
            <a:r>
              <a:rPr lang="en-IN" i="1" dirty="0" smtClean="0">
                <a:solidFill>
                  <a:srgbClr val="B42359"/>
                </a:solidFill>
              </a:rPr>
              <a:t>"&gt;</a:t>
            </a:r>
          </a:p>
          <a:p>
            <a:r>
              <a:rPr lang="en-IN" i="1" dirty="0" smtClean="0">
                <a:solidFill>
                  <a:srgbClr val="B42359"/>
                </a:solidFill>
              </a:rPr>
              <a:t>&lt;parameter name="browser" value="Firefox" /&gt;</a:t>
            </a:r>
          </a:p>
          <a:p>
            <a:r>
              <a:rPr lang="en-IN" i="1" dirty="0" smtClean="0">
                <a:solidFill>
                  <a:srgbClr val="B42359"/>
                </a:solidFill>
              </a:rPr>
              <a:t>&lt;classes&gt;</a:t>
            </a:r>
          </a:p>
          <a:p>
            <a:r>
              <a:rPr lang="en-IN" i="1" dirty="0" smtClean="0">
                <a:solidFill>
                  <a:srgbClr val="B42359"/>
                </a:solidFill>
              </a:rPr>
              <a:t>&lt;class name="</a:t>
            </a:r>
            <a:r>
              <a:rPr lang="en-IN" i="1" dirty="0" err="1" smtClean="0">
                <a:solidFill>
                  <a:srgbClr val="B42359"/>
                </a:solidFill>
              </a:rPr>
              <a:t>parallelTest.CrossBrowserScript</a:t>
            </a:r>
            <a:r>
              <a:rPr lang="en-IN" i="1" dirty="0" smtClean="0">
                <a:solidFill>
                  <a:srgbClr val="B42359"/>
                </a:solidFill>
              </a:rPr>
              <a:t>"&gt;</a:t>
            </a:r>
          </a:p>
          <a:p>
            <a:r>
              <a:rPr lang="en-IN" i="1" dirty="0" smtClean="0">
                <a:solidFill>
                  <a:srgbClr val="B42359"/>
                </a:solidFill>
              </a:rPr>
              <a:t>&lt;/class&gt;</a:t>
            </a:r>
          </a:p>
          <a:p>
            <a:r>
              <a:rPr lang="en-IN" i="1" dirty="0" smtClean="0">
                <a:solidFill>
                  <a:srgbClr val="B42359"/>
                </a:solidFill>
              </a:rPr>
              <a:t>&lt;/classes&gt;</a:t>
            </a:r>
          </a:p>
          <a:p>
            <a:r>
              <a:rPr lang="en-IN" i="1" dirty="0" smtClean="0">
                <a:solidFill>
                  <a:srgbClr val="B42359"/>
                </a:solidFill>
              </a:rPr>
              <a:t>&lt;/test&gt;</a:t>
            </a:r>
          </a:p>
          <a:p>
            <a:r>
              <a:rPr lang="en-IN" i="1" dirty="0" smtClean="0">
                <a:solidFill>
                  <a:srgbClr val="B42359"/>
                </a:solidFill>
              </a:rPr>
              <a:t>&lt;test name="</a:t>
            </a:r>
            <a:r>
              <a:rPr lang="en-IN" i="1" dirty="0" err="1" smtClean="0">
                <a:solidFill>
                  <a:srgbClr val="B42359"/>
                </a:solidFill>
              </a:rPr>
              <a:t>EdgeTest</a:t>
            </a:r>
            <a:r>
              <a:rPr lang="en-IN" i="1" dirty="0" smtClean="0">
                <a:solidFill>
                  <a:srgbClr val="B42359"/>
                </a:solidFill>
              </a:rPr>
              <a:t>"&gt;</a:t>
            </a:r>
          </a:p>
          <a:p>
            <a:r>
              <a:rPr lang="en-IN" i="1" dirty="0" smtClean="0">
                <a:solidFill>
                  <a:srgbClr val="B42359"/>
                </a:solidFill>
              </a:rPr>
              <a:t>&lt;parameter name="browser" value="Edge" /&gt;</a:t>
            </a:r>
          </a:p>
          <a:p>
            <a:r>
              <a:rPr lang="en-IN" i="1" dirty="0" smtClean="0">
                <a:solidFill>
                  <a:srgbClr val="B42359"/>
                </a:solidFill>
              </a:rPr>
              <a:t>&lt;classes&gt;</a:t>
            </a:r>
          </a:p>
          <a:p>
            <a:r>
              <a:rPr lang="en-IN" i="1" dirty="0" smtClean="0">
                <a:solidFill>
                  <a:srgbClr val="B42359"/>
                </a:solidFill>
              </a:rPr>
              <a:t>&lt;class name="</a:t>
            </a:r>
            <a:r>
              <a:rPr lang="en-IN" i="1" dirty="0" err="1" smtClean="0">
                <a:solidFill>
                  <a:srgbClr val="B42359"/>
                </a:solidFill>
              </a:rPr>
              <a:t>parallelTest.CrossBrowserScript</a:t>
            </a:r>
            <a:r>
              <a:rPr lang="en-IN" i="1" dirty="0" smtClean="0">
                <a:solidFill>
                  <a:srgbClr val="B42359"/>
                </a:solidFill>
              </a:rPr>
              <a:t>"&gt;</a:t>
            </a:r>
          </a:p>
          <a:p>
            <a:r>
              <a:rPr lang="en-IN" i="1" dirty="0" smtClean="0">
                <a:solidFill>
                  <a:srgbClr val="B42359"/>
                </a:solidFill>
              </a:rPr>
              <a:t>&lt;/class&gt;</a:t>
            </a:r>
          </a:p>
          <a:p>
            <a:r>
              <a:rPr lang="en-IN" i="1" dirty="0" smtClean="0">
                <a:solidFill>
                  <a:srgbClr val="B42359"/>
                </a:solidFill>
              </a:rPr>
              <a:t>&lt;/classes&gt;</a:t>
            </a:r>
          </a:p>
          <a:p>
            <a:r>
              <a:rPr lang="en-IN" i="1" dirty="0" smtClean="0">
                <a:solidFill>
                  <a:srgbClr val="B42359"/>
                </a:solidFill>
              </a:rPr>
              <a:t>&lt;/test&gt;</a:t>
            </a:r>
          </a:p>
          <a:p>
            <a:r>
              <a:rPr lang="en-IN" i="1" dirty="0" smtClean="0">
                <a:solidFill>
                  <a:srgbClr val="B42359"/>
                </a:solidFill>
              </a:rPr>
              <a:t>&lt;/suite&gt;</a:t>
            </a:r>
            <a:endParaRPr lang="en-IN" i="1" dirty="0">
              <a:solidFill>
                <a:srgbClr val="B42359"/>
              </a:solidFill>
            </a:endParaRPr>
          </a:p>
        </p:txBody>
      </p:sp>
    </p:spTree>
    <p:extLst>
      <p:ext uri="{BB962C8B-B14F-4D97-AF65-F5344CB8AC3E}">
        <p14:creationId xmlns:p14="http://schemas.microsoft.com/office/powerpoint/2010/main" val="13992484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39983" y="198823"/>
            <a:ext cx="6014441" cy="430887"/>
          </a:xfrm>
        </p:spPr>
        <p:txBody>
          <a:bodyPr/>
          <a:lstStyle/>
          <a:p>
            <a:r>
              <a:rPr lang="en-IN" dirty="0" smtClean="0"/>
              <a:t>TestNG parameter and DataProvider</a:t>
            </a:r>
            <a:endParaRPr lang="en-IN" dirty="0"/>
          </a:p>
        </p:txBody>
      </p:sp>
      <p:sp>
        <p:nvSpPr>
          <p:cNvPr id="7" name="TextBox 6"/>
          <p:cNvSpPr txBox="1"/>
          <p:nvPr/>
        </p:nvSpPr>
        <p:spPr>
          <a:xfrm>
            <a:off x="1457325" y="1457325"/>
            <a:ext cx="6543675"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2628900" y="4152900"/>
            <a:ext cx="4943475" cy="369332"/>
          </a:xfrm>
          <a:prstGeom prst="rect">
            <a:avLst/>
          </a:prstGeom>
        </p:spPr>
        <p:txBody>
          <a:bodyPr wrap="square">
            <a:spAutoFit/>
          </a:bodyPr>
          <a:lstStyle/>
          <a:p>
            <a:r>
              <a:rPr lang="en-IN" i="1" dirty="0" smtClean="0"/>
              <a:t>.</a:t>
            </a:r>
            <a:endParaRPr lang="en-IN" i="1" dirty="0"/>
          </a:p>
        </p:txBody>
      </p:sp>
      <p:sp>
        <p:nvSpPr>
          <p:cNvPr id="12" name="Rectangle 11"/>
          <p:cNvSpPr/>
          <p:nvPr/>
        </p:nvSpPr>
        <p:spPr>
          <a:xfrm>
            <a:off x="1246853" y="946001"/>
            <a:ext cx="6754147" cy="4524315"/>
          </a:xfrm>
          <a:prstGeom prst="rect">
            <a:avLst/>
          </a:prstGeom>
        </p:spPr>
        <p:txBody>
          <a:bodyPr wrap="square">
            <a:spAutoFit/>
          </a:bodyPr>
          <a:lstStyle/>
          <a:p>
            <a:pPr algn="just"/>
            <a:r>
              <a:rPr lang="en-IN" dirty="0" smtClean="0">
                <a:solidFill>
                  <a:schemeClr val="tx2"/>
                </a:solidFill>
              </a:rPr>
              <a:t>TestNG again gives us another interesting feature called </a:t>
            </a:r>
            <a:r>
              <a:rPr lang="en-IN" b="1" dirty="0" smtClean="0">
                <a:solidFill>
                  <a:schemeClr val="tx2"/>
                </a:solidFill>
              </a:rPr>
              <a:t>TestNG Parameters</a:t>
            </a:r>
            <a:r>
              <a:rPr lang="en-IN" dirty="0" smtClean="0">
                <a:solidFill>
                  <a:schemeClr val="tx2"/>
                </a:solidFill>
              </a:rPr>
              <a:t>. TestNG lets you pass parameters directly to your test methods with your testng.xml.</a:t>
            </a:r>
          </a:p>
          <a:p>
            <a:pPr>
              <a:buFontTx/>
              <a:buChar char="-"/>
            </a:pPr>
            <a:endParaRPr lang="en-IN" i="1" dirty="0" smtClean="0"/>
          </a:p>
          <a:p>
            <a:pPr>
              <a:buFontTx/>
              <a:buChar char="-"/>
            </a:pPr>
            <a:endParaRPr lang="en-IN" i="1" dirty="0" smtClean="0"/>
          </a:p>
          <a:p>
            <a:pPr fontAlgn="t"/>
            <a:r>
              <a:rPr lang="en-IN" b="1" i="1" dirty="0" smtClean="0">
                <a:solidFill>
                  <a:schemeClr val="tx2"/>
                </a:solidFill>
              </a:rPr>
              <a:t>package</a:t>
            </a:r>
            <a:r>
              <a:rPr lang="en-IN" i="1" dirty="0" smtClean="0">
                <a:solidFill>
                  <a:schemeClr val="tx2"/>
                </a:solidFill>
              </a:rPr>
              <a:t> </a:t>
            </a:r>
            <a:r>
              <a:rPr lang="en-IN" i="1" dirty="0" err="1" smtClean="0">
                <a:solidFill>
                  <a:schemeClr val="tx2"/>
                </a:solidFill>
              </a:rPr>
              <a:t>automationFramework</a:t>
            </a:r>
            <a:r>
              <a:rPr lang="en-IN" i="1" dirty="0" smtClean="0">
                <a:solidFill>
                  <a:schemeClr val="tx2"/>
                </a:solidFill>
              </a:rPr>
              <a:t>;</a:t>
            </a:r>
          </a:p>
          <a:p>
            <a:pPr fontAlgn="t"/>
            <a:endParaRPr lang="en-IN" i="1" dirty="0" smtClean="0">
              <a:solidFill>
                <a:schemeClr val="tx2"/>
              </a:solidFill>
            </a:endParaRPr>
          </a:p>
          <a:p>
            <a:pPr fontAlgn="t"/>
            <a:endParaRPr lang="en-IN" i="1" dirty="0" smtClean="0">
              <a:solidFill>
                <a:schemeClr val="tx2"/>
              </a:solidFill>
            </a:endParaRPr>
          </a:p>
          <a:p>
            <a:pPr fontAlgn="t"/>
            <a:r>
              <a:rPr lang="en-IN" i="1" dirty="0" smtClean="0">
                <a:solidFill>
                  <a:schemeClr val="tx2"/>
                </a:solidFill>
              </a:rPr>
              <a:t> import </a:t>
            </a:r>
            <a:r>
              <a:rPr lang="en-IN" i="1" dirty="0" err="1" smtClean="0">
                <a:solidFill>
                  <a:schemeClr val="tx2"/>
                </a:solidFill>
              </a:rPr>
              <a:t>java.util.concurrent.TimeUnit</a:t>
            </a:r>
            <a:r>
              <a:rPr lang="en-IN" i="1" dirty="0" smtClean="0">
                <a:solidFill>
                  <a:schemeClr val="tx2"/>
                </a:solidFill>
              </a:rPr>
              <a:t>;</a:t>
            </a:r>
          </a:p>
          <a:p>
            <a:pPr fontAlgn="t"/>
            <a:r>
              <a:rPr lang="en-IN" i="1" dirty="0" smtClean="0">
                <a:solidFill>
                  <a:schemeClr val="tx2"/>
                </a:solidFill>
              </a:rPr>
              <a:t> import </a:t>
            </a:r>
            <a:r>
              <a:rPr lang="en-IN" i="1" dirty="0" err="1" smtClean="0">
                <a:solidFill>
                  <a:schemeClr val="tx2"/>
                </a:solidFill>
              </a:rPr>
              <a:t>org.openqa.selenium.By</a:t>
            </a:r>
            <a:r>
              <a:rPr lang="en-IN" i="1" dirty="0" smtClean="0">
                <a:solidFill>
                  <a:schemeClr val="tx2"/>
                </a:solidFill>
              </a:rPr>
              <a:t>;</a:t>
            </a:r>
          </a:p>
          <a:p>
            <a:pPr fontAlgn="t"/>
            <a:r>
              <a:rPr lang="en-IN" i="1" dirty="0" smtClean="0">
                <a:solidFill>
                  <a:schemeClr val="tx2"/>
                </a:solidFill>
              </a:rPr>
              <a:t> import </a:t>
            </a:r>
            <a:r>
              <a:rPr lang="en-IN" i="1" dirty="0" err="1" smtClean="0">
                <a:solidFill>
                  <a:schemeClr val="tx2"/>
                </a:solidFill>
              </a:rPr>
              <a:t>org.openqa.selenium.WebDriver</a:t>
            </a:r>
            <a:r>
              <a:rPr lang="en-IN" i="1" dirty="0" smtClean="0">
                <a:solidFill>
                  <a:schemeClr val="tx2"/>
                </a:solidFill>
              </a:rPr>
              <a:t>;</a:t>
            </a:r>
          </a:p>
          <a:p>
            <a:pPr fontAlgn="t"/>
            <a:r>
              <a:rPr lang="en-IN" i="1" dirty="0" smtClean="0">
                <a:solidFill>
                  <a:schemeClr val="tx2"/>
                </a:solidFill>
              </a:rPr>
              <a:t> import </a:t>
            </a:r>
            <a:r>
              <a:rPr lang="en-IN" i="1" dirty="0" err="1" smtClean="0">
                <a:solidFill>
                  <a:schemeClr val="tx2"/>
                </a:solidFill>
              </a:rPr>
              <a:t>org.openqa.selenium.firefox.FirefoxDriver</a:t>
            </a:r>
            <a:r>
              <a:rPr lang="en-IN" i="1" dirty="0" smtClean="0">
                <a:solidFill>
                  <a:schemeClr val="tx2"/>
                </a:solidFill>
              </a:rPr>
              <a:t>;</a:t>
            </a:r>
          </a:p>
          <a:p>
            <a:pPr fontAlgn="t"/>
            <a:r>
              <a:rPr lang="en-IN" i="1" dirty="0" smtClean="0">
                <a:solidFill>
                  <a:schemeClr val="tx2"/>
                </a:solidFill>
              </a:rPr>
              <a:t> import </a:t>
            </a:r>
            <a:r>
              <a:rPr lang="en-IN" i="1" dirty="0" err="1" smtClean="0">
                <a:solidFill>
                  <a:schemeClr val="tx2"/>
                </a:solidFill>
              </a:rPr>
              <a:t>org.testng.annotations.Test</a:t>
            </a:r>
            <a:r>
              <a:rPr lang="en-IN" i="1" dirty="0" smtClean="0">
                <a:solidFill>
                  <a:schemeClr val="tx2"/>
                </a:solidFill>
              </a:rPr>
              <a:t>;</a:t>
            </a:r>
          </a:p>
          <a:p>
            <a:pPr fontAlgn="t"/>
            <a:r>
              <a:rPr lang="en-IN" i="1" dirty="0" smtClean="0">
                <a:solidFill>
                  <a:schemeClr val="tx2"/>
                </a:solidFill>
              </a:rPr>
              <a:t> import </a:t>
            </a:r>
            <a:r>
              <a:rPr lang="en-IN" i="1" dirty="0" err="1" smtClean="0">
                <a:solidFill>
                  <a:schemeClr val="tx2"/>
                </a:solidFill>
              </a:rPr>
              <a:t>org.testng.annotations.Parameters</a:t>
            </a:r>
            <a:r>
              <a:rPr lang="en-IN" i="1" dirty="0" smtClean="0">
                <a:solidFill>
                  <a:schemeClr val="tx2"/>
                </a:solidFill>
              </a:rPr>
              <a:t>;</a:t>
            </a:r>
          </a:p>
          <a:p>
            <a:pPr>
              <a:buFontTx/>
              <a:buChar char="-"/>
            </a:pPr>
            <a:endParaRPr lang="en-IN" i="1" dirty="0" smtClean="0">
              <a:solidFill>
                <a:srgbClr val="00B050"/>
              </a:solidFill>
            </a:endParaRPr>
          </a:p>
          <a:p>
            <a:endParaRPr lang="en-IN" b="1" dirty="0"/>
          </a:p>
        </p:txBody>
      </p:sp>
    </p:spTree>
    <p:extLst>
      <p:ext uri="{BB962C8B-B14F-4D97-AF65-F5344CB8AC3E}">
        <p14:creationId xmlns:p14="http://schemas.microsoft.com/office/powerpoint/2010/main" val="352970311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Additional Parallel run program </a:t>
            </a:r>
            <a:endParaRPr lang="en-IN" dirty="0"/>
          </a:p>
        </p:txBody>
      </p:sp>
      <p:sp>
        <p:nvSpPr>
          <p:cNvPr id="7" name="TextBox 6"/>
          <p:cNvSpPr txBox="1"/>
          <p:nvPr/>
        </p:nvSpPr>
        <p:spPr>
          <a:xfrm>
            <a:off x="419100" y="8001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1981200" y="4394200"/>
            <a:ext cx="6591300" cy="369332"/>
          </a:xfrm>
          <a:prstGeom prst="rect">
            <a:avLst/>
          </a:prstGeom>
        </p:spPr>
        <p:txBody>
          <a:bodyPr wrap="square">
            <a:spAutoFit/>
          </a:bodyPr>
          <a:lstStyle/>
          <a:p>
            <a:r>
              <a:rPr lang="en-IN" i="1" dirty="0" smtClean="0"/>
              <a:t>.</a:t>
            </a:r>
            <a:endParaRPr lang="en-IN" i="1" dirty="0"/>
          </a:p>
        </p:txBody>
      </p:sp>
      <p:sp>
        <p:nvSpPr>
          <p:cNvPr id="12" name="Rectangle 11"/>
          <p:cNvSpPr/>
          <p:nvPr/>
        </p:nvSpPr>
        <p:spPr>
          <a:xfrm>
            <a:off x="1092200" y="596900"/>
            <a:ext cx="7467600" cy="1200329"/>
          </a:xfrm>
          <a:prstGeom prst="rect">
            <a:avLst/>
          </a:prstGeom>
        </p:spPr>
        <p:txBody>
          <a:bodyPr wrap="square">
            <a:spAutoFit/>
          </a:bodyPr>
          <a:lstStyle/>
          <a:p>
            <a:endParaRPr lang="en-IN" i="1" dirty="0" smtClean="0">
              <a:solidFill>
                <a:srgbClr val="B42359"/>
              </a:solidFill>
            </a:endParaRPr>
          </a:p>
          <a:p>
            <a:endParaRPr lang="en-IN" i="1" dirty="0" smtClean="0">
              <a:solidFill>
                <a:srgbClr val="B42359"/>
              </a:solidFill>
            </a:endParaRPr>
          </a:p>
          <a:p>
            <a:endParaRPr lang="en-IN" dirty="0" smtClean="0"/>
          </a:p>
          <a:p>
            <a:r>
              <a:rPr lang="en-IN" dirty="0" smtClean="0"/>
              <a:t>	</a:t>
            </a:r>
            <a:endParaRPr lang="en-IN" dirty="0"/>
          </a:p>
        </p:txBody>
      </p:sp>
      <p:sp>
        <p:nvSpPr>
          <p:cNvPr id="9" name="TextBox 8"/>
          <p:cNvSpPr txBox="1"/>
          <p:nvPr/>
        </p:nvSpPr>
        <p:spPr>
          <a:xfrm>
            <a:off x="927100" y="699018"/>
            <a:ext cx="6800224" cy="5909310"/>
          </a:xfrm>
          <a:prstGeom prst="rect">
            <a:avLst/>
          </a:prstGeom>
          <a:noFill/>
        </p:spPr>
        <p:txBody>
          <a:bodyPr wrap="square" rtlCol="0">
            <a:spAutoFit/>
          </a:bodyPr>
          <a:lstStyle/>
          <a:p>
            <a:r>
              <a:rPr lang="en-IN" b="1" dirty="0" smtClean="0">
                <a:solidFill>
                  <a:srgbClr val="B42359"/>
                </a:solidFill>
              </a:rPr>
              <a:t>public class </a:t>
            </a:r>
            <a:r>
              <a:rPr lang="en-IN" b="1" dirty="0" err="1" smtClean="0">
                <a:solidFill>
                  <a:srgbClr val="B42359"/>
                </a:solidFill>
              </a:rPr>
              <a:t>ParallelTestB</a:t>
            </a:r>
            <a:r>
              <a:rPr lang="en-IN" b="1" dirty="0" smtClean="0">
                <a:solidFill>
                  <a:srgbClr val="B42359"/>
                </a:solidFill>
              </a:rPr>
              <a:t> extends Browser {</a:t>
            </a:r>
          </a:p>
          <a:p>
            <a:r>
              <a:rPr lang="en-IN" dirty="0" smtClean="0">
                <a:solidFill>
                  <a:srgbClr val="B42359"/>
                </a:solidFill>
              </a:rPr>
              <a:t>@Test</a:t>
            </a:r>
          </a:p>
          <a:p>
            <a:r>
              <a:rPr lang="en-IN" dirty="0" smtClean="0">
                <a:solidFill>
                  <a:srgbClr val="B42359"/>
                </a:solidFill>
              </a:rPr>
              <a:t>    </a:t>
            </a:r>
            <a:r>
              <a:rPr lang="en-IN" b="1" dirty="0" smtClean="0">
                <a:solidFill>
                  <a:srgbClr val="B42359"/>
                </a:solidFill>
              </a:rPr>
              <a:t>public void Test_1() throws Exception {</a:t>
            </a:r>
          </a:p>
          <a:p>
            <a:r>
              <a:rPr lang="en-IN" dirty="0" smtClean="0">
                <a:solidFill>
                  <a:srgbClr val="B42359"/>
                </a:solidFill>
              </a:rPr>
              <a:t>        </a:t>
            </a:r>
            <a:r>
              <a:rPr lang="en-IN" dirty="0" err="1" smtClean="0">
                <a:solidFill>
                  <a:srgbClr val="B42359"/>
                </a:solidFill>
              </a:rPr>
              <a:t>System.</a:t>
            </a:r>
            <a:r>
              <a:rPr lang="en-IN" b="1" i="1" dirty="0" err="1" smtClean="0">
                <a:solidFill>
                  <a:srgbClr val="B42359"/>
                </a:solidFill>
              </a:rPr>
              <a:t>out.println</a:t>
            </a:r>
            <a:r>
              <a:rPr lang="en-IN" b="1" i="1" dirty="0" smtClean="0">
                <a:solidFill>
                  <a:srgbClr val="B42359"/>
                </a:solidFill>
              </a:rPr>
              <a:t>("Test_1 Test Started! " + </a:t>
            </a:r>
            <a:r>
              <a:rPr lang="en-IN" b="1" i="1" dirty="0" err="1" smtClean="0">
                <a:solidFill>
                  <a:srgbClr val="B42359"/>
                </a:solidFill>
              </a:rPr>
              <a:t>Thread.currentThread</a:t>
            </a:r>
            <a:r>
              <a:rPr lang="en-IN" b="1" i="1" dirty="0" smtClean="0">
                <a:solidFill>
                  <a:srgbClr val="B42359"/>
                </a:solidFill>
              </a:rPr>
              <a:t>().</a:t>
            </a:r>
            <a:r>
              <a:rPr lang="en-IN" b="1" i="1" dirty="0" err="1" smtClean="0">
                <a:solidFill>
                  <a:srgbClr val="B42359"/>
                </a:solidFill>
              </a:rPr>
              <a:t>getId</a:t>
            </a:r>
            <a:r>
              <a:rPr lang="en-IN" b="1" i="1" dirty="0" smtClean="0">
                <a:solidFill>
                  <a:srgbClr val="B42359"/>
                </a:solidFill>
              </a:rPr>
              <a:t>());</a:t>
            </a:r>
          </a:p>
          <a:p>
            <a:r>
              <a:rPr lang="en-IN" dirty="0" smtClean="0">
                <a:solidFill>
                  <a:srgbClr val="B42359"/>
                </a:solidFill>
              </a:rPr>
              <a:t>        </a:t>
            </a:r>
            <a:r>
              <a:rPr lang="en-IN" dirty="0" err="1" smtClean="0">
                <a:solidFill>
                  <a:srgbClr val="B42359"/>
                </a:solidFill>
              </a:rPr>
              <a:t>getDriver</a:t>
            </a:r>
            <a:r>
              <a:rPr lang="en-IN" dirty="0" smtClean="0">
                <a:solidFill>
                  <a:srgbClr val="B42359"/>
                </a:solidFill>
              </a:rPr>
              <a:t>().navigate().to("http://www.google.com");</a:t>
            </a:r>
          </a:p>
          <a:p>
            <a:r>
              <a:rPr lang="en-IN" dirty="0" smtClean="0">
                <a:solidFill>
                  <a:srgbClr val="B42359"/>
                </a:solidFill>
              </a:rPr>
              <a:t>        </a:t>
            </a:r>
            <a:r>
              <a:rPr lang="en-IN" dirty="0" err="1" smtClean="0">
                <a:solidFill>
                  <a:srgbClr val="B42359"/>
                </a:solidFill>
              </a:rPr>
              <a:t>Assert.</a:t>
            </a:r>
            <a:r>
              <a:rPr lang="en-IN" i="1" dirty="0" err="1" smtClean="0">
                <a:solidFill>
                  <a:srgbClr val="B42359"/>
                </a:solidFill>
              </a:rPr>
              <a:t>assertEquals</a:t>
            </a:r>
            <a:r>
              <a:rPr lang="en-IN" i="1" dirty="0" smtClean="0">
                <a:solidFill>
                  <a:srgbClr val="B42359"/>
                </a:solidFill>
              </a:rPr>
              <a:t>(</a:t>
            </a:r>
            <a:r>
              <a:rPr lang="en-IN" i="1" dirty="0" err="1" smtClean="0">
                <a:solidFill>
                  <a:srgbClr val="B42359"/>
                </a:solidFill>
              </a:rPr>
              <a:t>getDriver</a:t>
            </a:r>
            <a:r>
              <a:rPr lang="en-IN" i="1" dirty="0" smtClean="0">
                <a:solidFill>
                  <a:srgbClr val="B42359"/>
                </a:solidFill>
              </a:rPr>
              <a:t>().</a:t>
            </a:r>
            <a:r>
              <a:rPr lang="en-IN" i="1" dirty="0" err="1" smtClean="0">
                <a:solidFill>
                  <a:srgbClr val="B42359"/>
                </a:solidFill>
              </a:rPr>
              <a:t>getTitle</a:t>
            </a:r>
            <a:r>
              <a:rPr lang="en-IN" i="1" dirty="0" smtClean="0">
                <a:solidFill>
                  <a:srgbClr val="B42359"/>
                </a:solidFill>
              </a:rPr>
              <a:t>(), "Google");</a:t>
            </a:r>
          </a:p>
          <a:p>
            <a:r>
              <a:rPr lang="en-IN" dirty="0" smtClean="0">
                <a:solidFill>
                  <a:srgbClr val="B42359"/>
                </a:solidFill>
              </a:rPr>
              <a:t>        </a:t>
            </a:r>
            <a:r>
              <a:rPr lang="en-IN" dirty="0" err="1" smtClean="0">
                <a:solidFill>
                  <a:srgbClr val="B42359"/>
                </a:solidFill>
              </a:rPr>
              <a:t>System.</a:t>
            </a:r>
            <a:r>
              <a:rPr lang="en-IN" b="1" i="1" dirty="0" err="1" smtClean="0">
                <a:solidFill>
                  <a:srgbClr val="B42359"/>
                </a:solidFill>
              </a:rPr>
              <a:t>out.println</a:t>
            </a:r>
            <a:r>
              <a:rPr lang="en-IN" b="1" i="1" dirty="0" smtClean="0">
                <a:solidFill>
                  <a:srgbClr val="B42359"/>
                </a:solidFill>
              </a:rPr>
              <a:t>("Google4 Test Ended! " + </a:t>
            </a:r>
            <a:r>
              <a:rPr lang="en-IN" b="1" i="1" dirty="0" err="1" smtClean="0">
                <a:solidFill>
                  <a:srgbClr val="B42359"/>
                </a:solidFill>
              </a:rPr>
              <a:t>Thread.currentThread</a:t>
            </a:r>
            <a:r>
              <a:rPr lang="en-IN" b="1" i="1" dirty="0" smtClean="0">
                <a:solidFill>
                  <a:srgbClr val="B42359"/>
                </a:solidFill>
              </a:rPr>
              <a:t>().</a:t>
            </a:r>
            <a:r>
              <a:rPr lang="en-IN" b="1" i="1" dirty="0" err="1" smtClean="0">
                <a:solidFill>
                  <a:srgbClr val="B42359"/>
                </a:solidFill>
              </a:rPr>
              <a:t>getId</a:t>
            </a:r>
            <a:r>
              <a:rPr lang="en-IN" b="1" i="1" dirty="0" smtClean="0">
                <a:solidFill>
                  <a:srgbClr val="B42359"/>
                </a:solidFill>
              </a:rPr>
              <a:t>());</a:t>
            </a:r>
          </a:p>
          <a:p>
            <a:r>
              <a:rPr lang="en-IN" dirty="0" smtClean="0">
                <a:solidFill>
                  <a:srgbClr val="B42359"/>
                </a:solidFill>
              </a:rPr>
              <a:t>    }</a:t>
            </a:r>
          </a:p>
          <a:p>
            <a:r>
              <a:rPr lang="en-IN" dirty="0" smtClean="0">
                <a:solidFill>
                  <a:srgbClr val="B42359"/>
                </a:solidFill>
              </a:rPr>
              <a:t> </a:t>
            </a:r>
          </a:p>
          <a:p>
            <a:r>
              <a:rPr lang="en-IN" dirty="0" smtClean="0">
                <a:solidFill>
                  <a:srgbClr val="B42359"/>
                </a:solidFill>
              </a:rPr>
              <a:t>    @Test</a:t>
            </a:r>
          </a:p>
          <a:p>
            <a:r>
              <a:rPr lang="en-IN" dirty="0" smtClean="0">
                <a:solidFill>
                  <a:srgbClr val="B42359"/>
                </a:solidFill>
              </a:rPr>
              <a:t>    </a:t>
            </a:r>
            <a:r>
              <a:rPr lang="en-IN" b="1" dirty="0" smtClean="0">
                <a:solidFill>
                  <a:srgbClr val="B42359"/>
                </a:solidFill>
              </a:rPr>
              <a:t>public void Test_2() throws Exception {</a:t>
            </a:r>
          </a:p>
          <a:p>
            <a:r>
              <a:rPr lang="en-IN" dirty="0" smtClean="0">
                <a:solidFill>
                  <a:srgbClr val="B42359"/>
                </a:solidFill>
              </a:rPr>
              <a:t>        </a:t>
            </a:r>
            <a:r>
              <a:rPr lang="en-IN" dirty="0" err="1" smtClean="0">
                <a:solidFill>
                  <a:srgbClr val="B42359"/>
                </a:solidFill>
              </a:rPr>
              <a:t>System.</a:t>
            </a:r>
            <a:r>
              <a:rPr lang="en-IN" b="1" i="1" dirty="0" err="1" smtClean="0">
                <a:solidFill>
                  <a:srgbClr val="B42359"/>
                </a:solidFill>
              </a:rPr>
              <a:t>out.println</a:t>
            </a:r>
            <a:r>
              <a:rPr lang="en-IN" b="1" i="1" dirty="0" smtClean="0">
                <a:solidFill>
                  <a:srgbClr val="B42359"/>
                </a:solidFill>
              </a:rPr>
              <a:t>("Test_2 Test Started! " + </a:t>
            </a:r>
            <a:r>
              <a:rPr lang="en-IN" b="1" i="1" dirty="0" err="1" smtClean="0">
                <a:solidFill>
                  <a:srgbClr val="B42359"/>
                </a:solidFill>
              </a:rPr>
              <a:t>Thread.currentThread</a:t>
            </a:r>
            <a:r>
              <a:rPr lang="en-IN" b="1" i="1" dirty="0" smtClean="0">
                <a:solidFill>
                  <a:srgbClr val="B42359"/>
                </a:solidFill>
              </a:rPr>
              <a:t>().</a:t>
            </a:r>
            <a:r>
              <a:rPr lang="en-IN" b="1" i="1" dirty="0" err="1" smtClean="0">
                <a:solidFill>
                  <a:srgbClr val="B42359"/>
                </a:solidFill>
              </a:rPr>
              <a:t>getId</a:t>
            </a:r>
            <a:r>
              <a:rPr lang="en-IN" b="1" i="1" dirty="0" smtClean="0">
                <a:solidFill>
                  <a:srgbClr val="B42359"/>
                </a:solidFill>
              </a:rPr>
              <a:t>());</a:t>
            </a:r>
          </a:p>
          <a:p>
            <a:r>
              <a:rPr lang="en-IN" dirty="0" smtClean="0">
                <a:solidFill>
                  <a:srgbClr val="B42359"/>
                </a:solidFill>
              </a:rPr>
              <a:t>        </a:t>
            </a:r>
            <a:r>
              <a:rPr lang="en-IN" dirty="0" err="1" smtClean="0">
                <a:solidFill>
                  <a:srgbClr val="B42359"/>
                </a:solidFill>
              </a:rPr>
              <a:t>getDriver</a:t>
            </a:r>
            <a:r>
              <a:rPr lang="en-IN" dirty="0" smtClean="0">
                <a:solidFill>
                  <a:srgbClr val="B42359"/>
                </a:solidFill>
              </a:rPr>
              <a:t>().navigate().to("http://www.yandex.com");</a:t>
            </a:r>
          </a:p>
          <a:p>
            <a:r>
              <a:rPr lang="en-IN" dirty="0" smtClean="0">
                <a:solidFill>
                  <a:srgbClr val="B42359"/>
                </a:solidFill>
              </a:rPr>
              <a:t>        </a:t>
            </a:r>
            <a:r>
              <a:rPr lang="en-IN" dirty="0" err="1" smtClean="0">
                <a:solidFill>
                  <a:srgbClr val="B42359"/>
                </a:solidFill>
              </a:rPr>
              <a:t>Assert.</a:t>
            </a:r>
            <a:r>
              <a:rPr lang="en-IN" i="1" dirty="0" err="1" smtClean="0">
                <a:solidFill>
                  <a:srgbClr val="B42359"/>
                </a:solidFill>
              </a:rPr>
              <a:t>assertEquals</a:t>
            </a:r>
            <a:r>
              <a:rPr lang="en-IN" i="1" dirty="0" smtClean="0">
                <a:solidFill>
                  <a:srgbClr val="B42359"/>
                </a:solidFill>
              </a:rPr>
              <a:t>(</a:t>
            </a:r>
            <a:r>
              <a:rPr lang="en-IN" i="1" dirty="0" err="1" smtClean="0">
                <a:solidFill>
                  <a:srgbClr val="B42359"/>
                </a:solidFill>
              </a:rPr>
              <a:t>getDriver</a:t>
            </a:r>
            <a:r>
              <a:rPr lang="en-IN" i="1" dirty="0" smtClean="0">
                <a:solidFill>
                  <a:srgbClr val="B42359"/>
                </a:solidFill>
              </a:rPr>
              <a:t>().</a:t>
            </a:r>
            <a:r>
              <a:rPr lang="en-IN" i="1" dirty="0" err="1" smtClean="0">
                <a:solidFill>
                  <a:srgbClr val="B42359"/>
                </a:solidFill>
              </a:rPr>
              <a:t>getTitle</a:t>
            </a:r>
            <a:r>
              <a:rPr lang="en-IN" i="1" dirty="0" smtClean="0">
                <a:solidFill>
                  <a:srgbClr val="B42359"/>
                </a:solidFill>
              </a:rPr>
              <a:t>(), "</a:t>
            </a:r>
            <a:r>
              <a:rPr lang="en-IN" i="1" dirty="0" err="1" smtClean="0">
                <a:solidFill>
                  <a:srgbClr val="B42359"/>
                </a:solidFill>
              </a:rPr>
              <a:t>Yandex</a:t>
            </a:r>
            <a:r>
              <a:rPr lang="en-IN" i="1" dirty="0" smtClean="0">
                <a:solidFill>
                  <a:srgbClr val="B42359"/>
                </a:solidFill>
              </a:rPr>
              <a:t>");</a:t>
            </a:r>
          </a:p>
          <a:p>
            <a:r>
              <a:rPr lang="en-IN" dirty="0" smtClean="0">
                <a:solidFill>
                  <a:srgbClr val="B42359"/>
                </a:solidFill>
              </a:rPr>
              <a:t>        </a:t>
            </a:r>
            <a:r>
              <a:rPr lang="en-IN" dirty="0" err="1" smtClean="0">
                <a:solidFill>
                  <a:srgbClr val="B42359"/>
                </a:solidFill>
              </a:rPr>
              <a:t>System.</a:t>
            </a:r>
            <a:r>
              <a:rPr lang="en-IN" b="1" i="1" dirty="0" err="1" smtClean="0">
                <a:solidFill>
                  <a:srgbClr val="B42359"/>
                </a:solidFill>
              </a:rPr>
              <a:t>out.println</a:t>
            </a:r>
            <a:r>
              <a:rPr lang="en-IN" b="1" i="1" dirty="0" smtClean="0">
                <a:solidFill>
                  <a:srgbClr val="B42359"/>
                </a:solidFill>
              </a:rPr>
              <a:t>("</a:t>
            </a:r>
            <a:r>
              <a:rPr lang="en-IN" b="1" i="1" dirty="0" err="1" smtClean="0">
                <a:solidFill>
                  <a:srgbClr val="B42359"/>
                </a:solidFill>
              </a:rPr>
              <a:t>Yandex</a:t>
            </a:r>
            <a:r>
              <a:rPr lang="en-IN" b="1" i="1" dirty="0" smtClean="0">
                <a:solidFill>
                  <a:srgbClr val="B42359"/>
                </a:solidFill>
              </a:rPr>
              <a:t> Test Ended! " + </a:t>
            </a:r>
            <a:r>
              <a:rPr lang="en-IN" b="1" i="1" dirty="0" err="1" smtClean="0">
                <a:solidFill>
                  <a:srgbClr val="B42359"/>
                </a:solidFill>
              </a:rPr>
              <a:t>Thread.currentThread</a:t>
            </a:r>
            <a:r>
              <a:rPr lang="en-IN" b="1" i="1" dirty="0" smtClean="0">
                <a:solidFill>
                  <a:srgbClr val="B42359"/>
                </a:solidFill>
              </a:rPr>
              <a:t>().</a:t>
            </a:r>
            <a:r>
              <a:rPr lang="en-IN" b="1" i="1" dirty="0" err="1" smtClean="0">
                <a:solidFill>
                  <a:srgbClr val="B42359"/>
                </a:solidFill>
              </a:rPr>
              <a:t>getId</a:t>
            </a:r>
            <a:r>
              <a:rPr lang="en-IN" b="1" i="1" dirty="0" smtClean="0">
                <a:solidFill>
                  <a:srgbClr val="B42359"/>
                </a:solidFill>
              </a:rPr>
              <a:t>());</a:t>
            </a:r>
          </a:p>
          <a:p>
            <a:r>
              <a:rPr lang="en-IN" dirty="0" smtClean="0">
                <a:solidFill>
                  <a:srgbClr val="B42359"/>
                </a:solidFill>
              </a:rPr>
              <a:t>    }</a:t>
            </a:r>
          </a:p>
          <a:p>
            <a:r>
              <a:rPr lang="en-IN" dirty="0" smtClean="0">
                <a:solidFill>
                  <a:srgbClr val="B42359"/>
                </a:solidFill>
              </a:rPr>
              <a:t>}</a:t>
            </a:r>
            <a:endParaRPr lang="en-IN" dirty="0">
              <a:solidFill>
                <a:srgbClr val="B42359"/>
              </a:solidFill>
            </a:endParaRPr>
          </a:p>
        </p:txBody>
      </p:sp>
    </p:spTree>
    <p:extLst>
      <p:ext uri="{BB962C8B-B14F-4D97-AF65-F5344CB8AC3E}">
        <p14:creationId xmlns:p14="http://schemas.microsoft.com/office/powerpoint/2010/main" val="164175959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Additional Parallel run program </a:t>
            </a:r>
            <a:endParaRPr lang="en-IN" dirty="0"/>
          </a:p>
        </p:txBody>
      </p:sp>
      <p:sp>
        <p:nvSpPr>
          <p:cNvPr id="7" name="TextBox 6"/>
          <p:cNvSpPr txBox="1"/>
          <p:nvPr/>
        </p:nvSpPr>
        <p:spPr>
          <a:xfrm>
            <a:off x="419100" y="8001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1981200" y="4394200"/>
            <a:ext cx="6591300" cy="369332"/>
          </a:xfrm>
          <a:prstGeom prst="rect">
            <a:avLst/>
          </a:prstGeom>
        </p:spPr>
        <p:txBody>
          <a:bodyPr wrap="square">
            <a:spAutoFit/>
          </a:bodyPr>
          <a:lstStyle/>
          <a:p>
            <a:r>
              <a:rPr lang="en-IN" i="1" dirty="0" smtClean="0"/>
              <a:t>.</a:t>
            </a:r>
            <a:endParaRPr lang="en-IN" i="1" dirty="0"/>
          </a:p>
        </p:txBody>
      </p:sp>
      <p:sp>
        <p:nvSpPr>
          <p:cNvPr id="12" name="Rectangle 11"/>
          <p:cNvSpPr/>
          <p:nvPr/>
        </p:nvSpPr>
        <p:spPr>
          <a:xfrm>
            <a:off x="1092200" y="596900"/>
            <a:ext cx="7467600" cy="1200329"/>
          </a:xfrm>
          <a:prstGeom prst="rect">
            <a:avLst/>
          </a:prstGeom>
        </p:spPr>
        <p:txBody>
          <a:bodyPr wrap="square">
            <a:spAutoFit/>
          </a:bodyPr>
          <a:lstStyle/>
          <a:p>
            <a:endParaRPr lang="en-IN" i="1" dirty="0" smtClean="0">
              <a:solidFill>
                <a:srgbClr val="B42359"/>
              </a:solidFill>
            </a:endParaRPr>
          </a:p>
          <a:p>
            <a:endParaRPr lang="en-IN" i="1" dirty="0" smtClean="0">
              <a:solidFill>
                <a:srgbClr val="B42359"/>
              </a:solidFill>
            </a:endParaRPr>
          </a:p>
          <a:p>
            <a:endParaRPr lang="en-IN" dirty="0" smtClean="0"/>
          </a:p>
          <a:p>
            <a:r>
              <a:rPr lang="en-IN" dirty="0" smtClean="0"/>
              <a:t>	</a:t>
            </a:r>
            <a:endParaRPr lang="en-IN" dirty="0"/>
          </a:p>
        </p:txBody>
      </p:sp>
      <p:sp>
        <p:nvSpPr>
          <p:cNvPr id="9" name="TextBox 8"/>
          <p:cNvSpPr txBox="1"/>
          <p:nvPr/>
        </p:nvSpPr>
        <p:spPr>
          <a:xfrm>
            <a:off x="927100" y="800100"/>
            <a:ext cx="7289800" cy="4801314"/>
          </a:xfrm>
          <a:prstGeom prst="rect">
            <a:avLst/>
          </a:prstGeom>
          <a:noFill/>
        </p:spPr>
        <p:txBody>
          <a:bodyPr wrap="square" rtlCol="0">
            <a:spAutoFit/>
          </a:bodyPr>
          <a:lstStyle/>
          <a:p>
            <a:r>
              <a:rPr lang="en-IN" b="1" dirty="0" smtClean="0">
                <a:solidFill>
                  <a:srgbClr val="B42359"/>
                </a:solidFill>
              </a:rPr>
              <a:t>public class Browser </a:t>
            </a:r>
          </a:p>
          <a:p>
            <a:r>
              <a:rPr lang="en-IN" dirty="0" smtClean="0">
                <a:solidFill>
                  <a:srgbClr val="B42359"/>
                </a:solidFill>
              </a:rPr>
              <a:t>{</a:t>
            </a:r>
          </a:p>
          <a:p>
            <a:r>
              <a:rPr lang="en-IN" dirty="0" smtClean="0">
                <a:solidFill>
                  <a:srgbClr val="B42359"/>
                </a:solidFill>
              </a:rPr>
              <a:t>//Declare </a:t>
            </a:r>
            <a:r>
              <a:rPr lang="en-IN" dirty="0" err="1" smtClean="0">
                <a:solidFill>
                  <a:srgbClr val="B42359"/>
                </a:solidFill>
              </a:rPr>
              <a:t>ThreadLocal</a:t>
            </a:r>
            <a:r>
              <a:rPr lang="en-IN" dirty="0" smtClean="0">
                <a:solidFill>
                  <a:srgbClr val="B42359"/>
                </a:solidFill>
              </a:rPr>
              <a:t> Driver (</a:t>
            </a:r>
            <a:r>
              <a:rPr lang="en-IN" dirty="0" err="1" smtClean="0">
                <a:solidFill>
                  <a:srgbClr val="B42359"/>
                </a:solidFill>
              </a:rPr>
              <a:t>ThreadLocalMap</a:t>
            </a:r>
            <a:r>
              <a:rPr lang="en-IN" dirty="0" smtClean="0">
                <a:solidFill>
                  <a:srgbClr val="B42359"/>
                </a:solidFill>
              </a:rPr>
              <a:t>) for </a:t>
            </a:r>
            <a:r>
              <a:rPr lang="en-IN" dirty="0" err="1" smtClean="0">
                <a:solidFill>
                  <a:srgbClr val="B42359"/>
                </a:solidFill>
              </a:rPr>
              <a:t>ThreadSafe</a:t>
            </a:r>
            <a:r>
              <a:rPr lang="en-IN" dirty="0" smtClean="0">
                <a:solidFill>
                  <a:srgbClr val="B42359"/>
                </a:solidFill>
              </a:rPr>
              <a:t> Tests</a:t>
            </a:r>
          </a:p>
          <a:p>
            <a:r>
              <a:rPr lang="en-IN" dirty="0" smtClean="0">
                <a:solidFill>
                  <a:srgbClr val="B42359"/>
                </a:solidFill>
              </a:rPr>
              <a:t>    </a:t>
            </a:r>
            <a:r>
              <a:rPr lang="en-IN" b="1" dirty="0" smtClean="0">
                <a:solidFill>
                  <a:srgbClr val="B42359"/>
                </a:solidFill>
              </a:rPr>
              <a:t>protected static </a:t>
            </a:r>
            <a:r>
              <a:rPr lang="en-IN" b="1" dirty="0" err="1" smtClean="0">
                <a:solidFill>
                  <a:srgbClr val="B42359"/>
                </a:solidFill>
              </a:rPr>
              <a:t>ThreadLocal</a:t>
            </a:r>
            <a:r>
              <a:rPr lang="en-IN" b="1" dirty="0" smtClean="0">
                <a:solidFill>
                  <a:srgbClr val="B42359"/>
                </a:solidFill>
              </a:rPr>
              <a:t>&lt;</a:t>
            </a:r>
            <a:r>
              <a:rPr lang="en-IN" b="1" dirty="0" err="1" smtClean="0">
                <a:solidFill>
                  <a:srgbClr val="B42359"/>
                </a:solidFill>
              </a:rPr>
              <a:t>RemoteWebDriver</a:t>
            </a:r>
            <a:r>
              <a:rPr lang="en-IN" b="1" dirty="0" smtClean="0">
                <a:solidFill>
                  <a:srgbClr val="B42359"/>
                </a:solidFill>
              </a:rPr>
              <a:t>&gt; </a:t>
            </a:r>
            <a:r>
              <a:rPr lang="en-IN" b="1" i="1" dirty="0" smtClean="0">
                <a:solidFill>
                  <a:srgbClr val="B42359"/>
                </a:solidFill>
              </a:rPr>
              <a:t>driver = new </a:t>
            </a:r>
            <a:r>
              <a:rPr lang="en-IN" b="1" i="1" dirty="0" err="1" smtClean="0">
                <a:solidFill>
                  <a:srgbClr val="B42359"/>
                </a:solidFill>
              </a:rPr>
              <a:t>ThreadLocal</a:t>
            </a:r>
            <a:r>
              <a:rPr lang="en-IN" b="1" i="1" dirty="0" smtClean="0">
                <a:solidFill>
                  <a:srgbClr val="B42359"/>
                </a:solidFill>
              </a:rPr>
              <a:t>&lt;&gt;();</a:t>
            </a:r>
          </a:p>
          <a:p>
            <a:r>
              <a:rPr lang="en-IN" dirty="0" smtClean="0">
                <a:solidFill>
                  <a:srgbClr val="B42359"/>
                </a:solidFill>
              </a:rPr>
              <a:t> </a:t>
            </a:r>
          </a:p>
          <a:p>
            <a:r>
              <a:rPr lang="en-IN" dirty="0" smtClean="0">
                <a:solidFill>
                  <a:srgbClr val="B42359"/>
                </a:solidFill>
              </a:rPr>
              <a:t>    @</a:t>
            </a:r>
            <a:r>
              <a:rPr lang="en-IN" dirty="0" err="1" smtClean="0">
                <a:solidFill>
                  <a:srgbClr val="B42359"/>
                </a:solidFill>
              </a:rPr>
              <a:t>BeforeMethod</a:t>
            </a:r>
            <a:endParaRPr lang="en-IN" dirty="0" smtClean="0">
              <a:solidFill>
                <a:srgbClr val="B42359"/>
              </a:solidFill>
            </a:endParaRPr>
          </a:p>
          <a:p>
            <a:r>
              <a:rPr lang="en-IN" dirty="0" smtClean="0">
                <a:solidFill>
                  <a:srgbClr val="B42359"/>
                </a:solidFill>
              </a:rPr>
              <a:t>    @Parameters(value={"browser"})</a:t>
            </a:r>
          </a:p>
          <a:p>
            <a:r>
              <a:rPr lang="en-IN" dirty="0" smtClean="0">
                <a:solidFill>
                  <a:srgbClr val="B42359"/>
                </a:solidFill>
              </a:rPr>
              <a:t>    </a:t>
            </a:r>
            <a:r>
              <a:rPr lang="en-IN" b="1" dirty="0" smtClean="0">
                <a:solidFill>
                  <a:srgbClr val="B42359"/>
                </a:solidFill>
              </a:rPr>
              <a:t>public void </a:t>
            </a:r>
            <a:r>
              <a:rPr lang="en-IN" b="1" dirty="0" err="1" smtClean="0">
                <a:solidFill>
                  <a:srgbClr val="B42359"/>
                </a:solidFill>
              </a:rPr>
              <a:t>setupTest</a:t>
            </a:r>
            <a:r>
              <a:rPr lang="en-IN" b="1" dirty="0" smtClean="0">
                <a:solidFill>
                  <a:srgbClr val="B42359"/>
                </a:solidFill>
              </a:rPr>
              <a:t> (String browser) throws </a:t>
            </a:r>
            <a:r>
              <a:rPr lang="en-IN" b="1" dirty="0" err="1" smtClean="0">
                <a:solidFill>
                  <a:srgbClr val="B42359"/>
                </a:solidFill>
              </a:rPr>
              <a:t>MalformedURLException</a:t>
            </a:r>
            <a:r>
              <a:rPr lang="en-IN" b="1" dirty="0" smtClean="0">
                <a:solidFill>
                  <a:srgbClr val="B42359"/>
                </a:solidFill>
              </a:rPr>
              <a:t> {</a:t>
            </a:r>
          </a:p>
          <a:p>
            <a:r>
              <a:rPr lang="en-IN" dirty="0" smtClean="0">
                <a:solidFill>
                  <a:srgbClr val="B42359"/>
                </a:solidFill>
              </a:rPr>
              <a:t>        //Set </a:t>
            </a:r>
            <a:r>
              <a:rPr lang="en-IN" dirty="0" err="1" smtClean="0">
                <a:solidFill>
                  <a:srgbClr val="B42359"/>
                </a:solidFill>
              </a:rPr>
              <a:t>DesiredCapabilities</a:t>
            </a:r>
            <a:endParaRPr lang="en-IN" dirty="0" smtClean="0">
              <a:solidFill>
                <a:srgbClr val="B42359"/>
              </a:solidFill>
            </a:endParaRPr>
          </a:p>
          <a:p>
            <a:r>
              <a:rPr lang="en-IN" dirty="0" smtClean="0">
                <a:solidFill>
                  <a:srgbClr val="B42359"/>
                </a:solidFill>
              </a:rPr>
              <a:t>        </a:t>
            </a:r>
            <a:r>
              <a:rPr lang="en-IN" dirty="0" err="1" smtClean="0">
                <a:solidFill>
                  <a:srgbClr val="B42359"/>
                </a:solidFill>
              </a:rPr>
              <a:t>DesiredCapabilities</a:t>
            </a:r>
            <a:r>
              <a:rPr lang="en-IN" dirty="0" smtClean="0">
                <a:solidFill>
                  <a:srgbClr val="B42359"/>
                </a:solidFill>
              </a:rPr>
              <a:t> capabilities = </a:t>
            </a:r>
            <a:r>
              <a:rPr lang="en-IN" b="1" dirty="0" smtClean="0">
                <a:solidFill>
                  <a:srgbClr val="B42359"/>
                </a:solidFill>
              </a:rPr>
              <a:t>new </a:t>
            </a:r>
            <a:r>
              <a:rPr lang="en-IN" b="1" dirty="0" err="1" smtClean="0">
                <a:solidFill>
                  <a:srgbClr val="B42359"/>
                </a:solidFill>
              </a:rPr>
              <a:t>DesiredCapabilities</a:t>
            </a:r>
            <a:r>
              <a:rPr lang="en-IN" b="1" dirty="0" smtClean="0">
                <a:solidFill>
                  <a:srgbClr val="B42359"/>
                </a:solidFill>
              </a:rPr>
              <a:t>();</a:t>
            </a:r>
          </a:p>
          <a:p>
            <a:r>
              <a:rPr lang="en-IN" dirty="0" smtClean="0">
                <a:solidFill>
                  <a:srgbClr val="B42359"/>
                </a:solidFill>
              </a:rPr>
              <a:t>         //</a:t>
            </a:r>
            <a:r>
              <a:rPr lang="en-IN" u="sng" dirty="0" smtClean="0">
                <a:solidFill>
                  <a:srgbClr val="B42359"/>
                </a:solidFill>
              </a:rPr>
              <a:t>Firefox Profile Settings</a:t>
            </a:r>
          </a:p>
          <a:p>
            <a:r>
              <a:rPr lang="en-IN" dirty="0" smtClean="0">
                <a:solidFill>
                  <a:srgbClr val="B42359"/>
                </a:solidFill>
              </a:rPr>
              <a:t>        </a:t>
            </a:r>
            <a:r>
              <a:rPr lang="en-IN" sz="1200" dirty="0" smtClean="0">
                <a:solidFill>
                  <a:srgbClr val="B42359"/>
                </a:solidFill>
              </a:rPr>
              <a:t>/*if (browser=="</a:t>
            </a:r>
            <a:r>
              <a:rPr lang="en-IN" sz="1200" u="sng" dirty="0" err="1" smtClean="0">
                <a:solidFill>
                  <a:srgbClr val="B42359"/>
                </a:solidFill>
              </a:rPr>
              <a:t>firefox</a:t>
            </a:r>
            <a:r>
              <a:rPr lang="en-IN" sz="1200" u="sng" dirty="0" smtClean="0">
                <a:solidFill>
                  <a:srgbClr val="B42359"/>
                </a:solidFill>
              </a:rPr>
              <a:t>") {</a:t>
            </a:r>
          </a:p>
          <a:p>
            <a:r>
              <a:rPr lang="en-IN" sz="1200" dirty="0" smtClean="0">
                <a:solidFill>
                  <a:srgbClr val="B42359"/>
                </a:solidFill>
              </a:rPr>
              <a:t>            </a:t>
            </a:r>
            <a:r>
              <a:rPr lang="en-IN" sz="1200" dirty="0" err="1" smtClean="0">
                <a:solidFill>
                  <a:srgbClr val="B42359"/>
                </a:solidFill>
              </a:rPr>
              <a:t>FirefoxProfile</a:t>
            </a:r>
            <a:r>
              <a:rPr lang="en-IN" sz="1200" dirty="0" smtClean="0">
                <a:solidFill>
                  <a:srgbClr val="B42359"/>
                </a:solidFill>
              </a:rPr>
              <a:t> profile = new </a:t>
            </a:r>
            <a:r>
              <a:rPr lang="en-IN" sz="1200" dirty="0" err="1" smtClean="0">
                <a:solidFill>
                  <a:srgbClr val="B42359"/>
                </a:solidFill>
              </a:rPr>
              <a:t>FirefoxProfile</a:t>
            </a:r>
            <a:r>
              <a:rPr lang="en-IN" sz="1200" dirty="0" smtClean="0">
                <a:solidFill>
                  <a:srgbClr val="B42359"/>
                </a:solidFill>
              </a:rPr>
              <a:t>();</a:t>
            </a:r>
          </a:p>
          <a:p>
            <a:r>
              <a:rPr lang="en-IN" sz="1200" dirty="0" smtClean="0">
                <a:solidFill>
                  <a:srgbClr val="B42359"/>
                </a:solidFill>
              </a:rPr>
              <a:t>            //Accept </a:t>
            </a:r>
            <a:r>
              <a:rPr lang="en-IN" sz="1200" dirty="0" err="1" smtClean="0">
                <a:solidFill>
                  <a:srgbClr val="B42359"/>
                </a:solidFill>
              </a:rPr>
              <a:t>Untrusted</a:t>
            </a:r>
            <a:r>
              <a:rPr lang="en-IN" sz="1200" dirty="0" smtClean="0">
                <a:solidFill>
                  <a:srgbClr val="B42359"/>
                </a:solidFill>
              </a:rPr>
              <a:t> Certificates</a:t>
            </a:r>
          </a:p>
          <a:p>
            <a:r>
              <a:rPr lang="en-IN" sz="1200" dirty="0" smtClean="0">
                <a:solidFill>
                  <a:srgbClr val="B42359"/>
                </a:solidFill>
              </a:rPr>
              <a:t>            </a:t>
            </a:r>
            <a:r>
              <a:rPr lang="en-IN" sz="1200" dirty="0" err="1" smtClean="0">
                <a:solidFill>
                  <a:srgbClr val="B42359"/>
                </a:solidFill>
              </a:rPr>
              <a:t>profile.setAcceptUntrustedCertificates</a:t>
            </a:r>
            <a:r>
              <a:rPr lang="en-IN" sz="1200" dirty="0" smtClean="0">
                <a:solidFill>
                  <a:srgbClr val="B42359"/>
                </a:solidFill>
              </a:rPr>
              <a:t>(true);</a:t>
            </a:r>
          </a:p>
          <a:p>
            <a:r>
              <a:rPr lang="en-IN" sz="1200" dirty="0" smtClean="0">
                <a:solidFill>
                  <a:srgbClr val="B42359"/>
                </a:solidFill>
              </a:rPr>
              <a:t>            </a:t>
            </a:r>
            <a:r>
              <a:rPr lang="en-IN" sz="1200" dirty="0" err="1" smtClean="0">
                <a:solidFill>
                  <a:srgbClr val="B42359"/>
                </a:solidFill>
              </a:rPr>
              <a:t>profile.setAssumeUntrustedCertificateIssuer</a:t>
            </a:r>
            <a:r>
              <a:rPr lang="en-IN" sz="1200" dirty="0" smtClean="0">
                <a:solidFill>
                  <a:srgbClr val="B42359"/>
                </a:solidFill>
              </a:rPr>
              <a:t>(false);</a:t>
            </a:r>
          </a:p>
          <a:p>
            <a:r>
              <a:rPr lang="en-IN" sz="1200" dirty="0" smtClean="0">
                <a:solidFill>
                  <a:srgbClr val="B42359"/>
                </a:solidFill>
              </a:rPr>
              <a:t>            //Use No </a:t>
            </a:r>
            <a:r>
              <a:rPr lang="en-IN" sz="1200" u="sng" dirty="0" smtClean="0">
                <a:solidFill>
                  <a:srgbClr val="B42359"/>
                </a:solidFill>
              </a:rPr>
              <a:t>Proxy Settings</a:t>
            </a:r>
          </a:p>
          <a:p>
            <a:r>
              <a:rPr lang="en-IN" sz="1200" dirty="0" smtClean="0">
                <a:solidFill>
                  <a:srgbClr val="B42359"/>
                </a:solidFill>
              </a:rPr>
              <a:t>            </a:t>
            </a:r>
            <a:r>
              <a:rPr lang="en-IN" sz="1200" dirty="0" err="1" smtClean="0">
                <a:solidFill>
                  <a:srgbClr val="B42359"/>
                </a:solidFill>
              </a:rPr>
              <a:t>profile.setPreference</a:t>
            </a:r>
            <a:r>
              <a:rPr lang="en-IN" sz="1200" dirty="0" smtClean="0">
                <a:solidFill>
                  <a:srgbClr val="B42359"/>
                </a:solidFill>
              </a:rPr>
              <a:t>("</a:t>
            </a:r>
            <a:r>
              <a:rPr lang="en-IN" sz="1200" dirty="0" err="1" smtClean="0">
                <a:solidFill>
                  <a:srgbClr val="B42359"/>
                </a:solidFill>
              </a:rPr>
              <a:t>network.proxy.type</a:t>
            </a:r>
            <a:r>
              <a:rPr lang="en-IN" sz="1200" dirty="0" smtClean="0">
                <a:solidFill>
                  <a:srgbClr val="B42359"/>
                </a:solidFill>
              </a:rPr>
              <a:t>", 0);</a:t>
            </a:r>
          </a:p>
        </p:txBody>
      </p:sp>
    </p:spTree>
    <p:extLst>
      <p:ext uri="{BB962C8B-B14F-4D97-AF65-F5344CB8AC3E}">
        <p14:creationId xmlns:p14="http://schemas.microsoft.com/office/powerpoint/2010/main" val="65088316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Additional Parallel run program </a:t>
            </a:r>
            <a:endParaRPr lang="en-IN" dirty="0"/>
          </a:p>
        </p:txBody>
      </p:sp>
      <p:sp>
        <p:nvSpPr>
          <p:cNvPr id="7" name="TextBox 6"/>
          <p:cNvSpPr txBox="1"/>
          <p:nvPr/>
        </p:nvSpPr>
        <p:spPr>
          <a:xfrm>
            <a:off x="419100" y="8001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1981200" y="4394200"/>
            <a:ext cx="6591300" cy="369332"/>
          </a:xfrm>
          <a:prstGeom prst="rect">
            <a:avLst/>
          </a:prstGeom>
        </p:spPr>
        <p:txBody>
          <a:bodyPr wrap="square">
            <a:spAutoFit/>
          </a:bodyPr>
          <a:lstStyle/>
          <a:p>
            <a:r>
              <a:rPr lang="en-IN" i="1" dirty="0" smtClean="0"/>
              <a:t>.</a:t>
            </a:r>
            <a:endParaRPr lang="en-IN" i="1" dirty="0"/>
          </a:p>
        </p:txBody>
      </p:sp>
      <p:sp>
        <p:nvSpPr>
          <p:cNvPr id="12" name="Rectangle 11"/>
          <p:cNvSpPr/>
          <p:nvPr/>
        </p:nvSpPr>
        <p:spPr>
          <a:xfrm>
            <a:off x="1092200" y="596900"/>
            <a:ext cx="7467600" cy="1200329"/>
          </a:xfrm>
          <a:prstGeom prst="rect">
            <a:avLst/>
          </a:prstGeom>
        </p:spPr>
        <p:txBody>
          <a:bodyPr wrap="square">
            <a:spAutoFit/>
          </a:bodyPr>
          <a:lstStyle/>
          <a:p>
            <a:endParaRPr lang="en-IN" i="1" dirty="0" smtClean="0">
              <a:solidFill>
                <a:srgbClr val="B42359"/>
              </a:solidFill>
            </a:endParaRPr>
          </a:p>
          <a:p>
            <a:endParaRPr lang="en-IN" i="1" dirty="0" smtClean="0">
              <a:solidFill>
                <a:srgbClr val="B42359"/>
              </a:solidFill>
            </a:endParaRPr>
          </a:p>
          <a:p>
            <a:endParaRPr lang="en-IN" dirty="0" smtClean="0"/>
          </a:p>
          <a:p>
            <a:r>
              <a:rPr lang="en-IN" dirty="0" smtClean="0"/>
              <a:t>	</a:t>
            </a:r>
            <a:endParaRPr lang="en-IN" dirty="0"/>
          </a:p>
        </p:txBody>
      </p:sp>
      <p:sp>
        <p:nvSpPr>
          <p:cNvPr id="9" name="TextBox 8"/>
          <p:cNvSpPr txBox="1"/>
          <p:nvPr/>
        </p:nvSpPr>
        <p:spPr>
          <a:xfrm>
            <a:off x="774700" y="609600"/>
            <a:ext cx="8369300" cy="6186309"/>
          </a:xfrm>
          <a:prstGeom prst="rect">
            <a:avLst/>
          </a:prstGeom>
          <a:noFill/>
        </p:spPr>
        <p:txBody>
          <a:bodyPr wrap="square" rtlCol="0">
            <a:spAutoFit/>
          </a:bodyPr>
          <a:lstStyle/>
          <a:p>
            <a:r>
              <a:rPr lang="en-IN" sz="1200" dirty="0" smtClean="0">
                <a:solidFill>
                  <a:srgbClr val="B42359"/>
                </a:solidFill>
              </a:rPr>
              <a:t>//Set Firefox profile to capabilities</a:t>
            </a:r>
          </a:p>
          <a:p>
            <a:r>
              <a:rPr lang="en-IN" sz="1200" dirty="0" smtClean="0">
                <a:solidFill>
                  <a:srgbClr val="B42359"/>
                </a:solidFill>
              </a:rPr>
              <a:t>            </a:t>
            </a:r>
            <a:r>
              <a:rPr lang="en-IN" sz="1200" dirty="0" err="1" smtClean="0">
                <a:solidFill>
                  <a:srgbClr val="B42359"/>
                </a:solidFill>
              </a:rPr>
              <a:t>capabilities.setCapability</a:t>
            </a:r>
            <a:r>
              <a:rPr lang="en-IN" sz="1200" dirty="0" smtClean="0">
                <a:solidFill>
                  <a:srgbClr val="B42359"/>
                </a:solidFill>
              </a:rPr>
              <a:t>(</a:t>
            </a:r>
            <a:r>
              <a:rPr lang="en-IN" sz="1200" dirty="0" err="1" smtClean="0">
                <a:solidFill>
                  <a:srgbClr val="B42359"/>
                </a:solidFill>
              </a:rPr>
              <a:t>FirefoxDriver.PROFILE</a:t>
            </a:r>
            <a:r>
              <a:rPr lang="en-IN" sz="1200" dirty="0" smtClean="0">
                <a:solidFill>
                  <a:srgbClr val="B42359"/>
                </a:solidFill>
              </a:rPr>
              <a:t>, profile);</a:t>
            </a:r>
          </a:p>
          <a:p>
            <a:r>
              <a:rPr lang="en-IN" sz="1200" dirty="0" smtClean="0">
                <a:solidFill>
                  <a:srgbClr val="B42359"/>
                </a:solidFill>
              </a:rPr>
              <a:t>        }</a:t>
            </a:r>
          </a:p>
          <a:p>
            <a:r>
              <a:rPr lang="en-IN" dirty="0" smtClean="0">
                <a:solidFill>
                  <a:srgbClr val="B42359"/>
                </a:solidFill>
              </a:rPr>
              <a:t> </a:t>
            </a:r>
            <a:r>
              <a:rPr lang="en-IN" dirty="0" err="1" smtClean="0">
                <a:solidFill>
                  <a:srgbClr val="B42359"/>
                </a:solidFill>
              </a:rPr>
              <a:t>System.out.println</a:t>
            </a:r>
            <a:r>
              <a:rPr lang="en-IN" dirty="0" smtClean="0">
                <a:solidFill>
                  <a:srgbClr val="B42359"/>
                </a:solidFill>
              </a:rPr>
              <a:t>(browser);</a:t>
            </a:r>
          </a:p>
          <a:p>
            <a:r>
              <a:rPr lang="en-IN" dirty="0" smtClean="0">
                <a:solidFill>
                  <a:srgbClr val="B42359"/>
                </a:solidFill>
              </a:rPr>
              <a:t>        //Set </a:t>
            </a:r>
            <a:r>
              <a:rPr lang="en-IN" dirty="0" err="1" smtClean="0">
                <a:solidFill>
                  <a:srgbClr val="B42359"/>
                </a:solidFill>
              </a:rPr>
              <a:t>BrowserName</a:t>
            </a:r>
            <a:endParaRPr lang="en-IN" dirty="0" smtClean="0">
              <a:solidFill>
                <a:srgbClr val="B42359"/>
              </a:solidFill>
            </a:endParaRPr>
          </a:p>
          <a:p>
            <a:r>
              <a:rPr lang="en-IN" dirty="0" smtClean="0">
                <a:solidFill>
                  <a:srgbClr val="B42359"/>
                </a:solidFill>
              </a:rPr>
              <a:t>        </a:t>
            </a:r>
            <a:r>
              <a:rPr lang="en-IN" dirty="0" err="1" smtClean="0">
                <a:solidFill>
                  <a:srgbClr val="B42359"/>
                </a:solidFill>
              </a:rPr>
              <a:t>capabilities.setCapability</a:t>
            </a:r>
            <a:r>
              <a:rPr lang="en-IN" dirty="0" smtClean="0">
                <a:solidFill>
                  <a:srgbClr val="B42359"/>
                </a:solidFill>
              </a:rPr>
              <a:t>("</a:t>
            </a:r>
            <a:r>
              <a:rPr lang="en-IN" dirty="0" err="1" smtClean="0">
                <a:solidFill>
                  <a:srgbClr val="B42359"/>
                </a:solidFill>
              </a:rPr>
              <a:t>browserName</a:t>
            </a:r>
            <a:r>
              <a:rPr lang="en-IN" dirty="0" smtClean="0">
                <a:solidFill>
                  <a:srgbClr val="B42359"/>
                </a:solidFill>
              </a:rPr>
              <a:t>", browser);</a:t>
            </a:r>
          </a:p>
          <a:p>
            <a:r>
              <a:rPr lang="en-IN" dirty="0" smtClean="0">
                <a:solidFill>
                  <a:srgbClr val="B42359"/>
                </a:solidFill>
              </a:rPr>
              <a:t>        //Set Browser to </a:t>
            </a:r>
            <a:r>
              <a:rPr lang="en-IN" dirty="0" err="1" smtClean="0">
                <a:solidFill>
                  <a:srgbClr val="B42359"/>
                </a:solidFill>
              </a:rPr>
              <a:t>ThreadLocalMap</a:t>
            </a:r>
            <a:endParaRPr lang="en-IN" dirty="0" smtClean="0">
              <a:solidFill>
                <a:srgbClr val="B42359"/>
              </a:solidFill>
            </a:endParaRPr>
          </a:p>
          <a:p>
            <a:r>
              <a:rPr lang="en-IN" dirty="0" smtClean="0">
                <a:solidFill>
                  <a:srgbClr val="B42359"/>
                </a:solidFill>
              </a:rPr>
              <a:t>        </a:t>
            </a:r>
            <a:r>
              <a:rPr lang="en-IN" dirty="0" err="1" smtClean="0">
                <a:solidFill>
                  <a:srgbClr val="B42359"/>
                </a:solidFill>
              </a:rPr>
              <a:t>driver.set</a:t>
            </a:r>
            <a:r>
              <a:rPr lang="en-IN" dirty="0" smtClean="0">
                <a:solidFill>
                  <a:srgbClr val="B42359"/>
                </a:solidFill>
              </a:rPr>
              <a:t>(new </a:t>
            </a:r>
            <a:r>
              <a:rPr lang="en-IN" dirty="0" err="1" smtClean="0">
                <a:solidFill>
                  <a:srgbClr val="B42359"/>
                </a:solidFill>
              </a:rPr>
              <a:t>RemoteWebDriver</a:t>
            </a:r>
            <a:r>
              <a:rPr lang="en-IN" dirty="0" smtClean="0">
                <a:solidFill>
                  <a:srgbClr val="B42359"/>
                </a:solidFill>
              </a:rPr>
              <a:t>(new URL("http://localhost:4444/wd/hub"), capabilities));</a:t>
            </a:r>
          </a:p>
          <a:p>
            <a:r>
              <a:rPr lang="en-IN" dirty="0" smtClean="0">
                <a:solidFill>
                  <a:srgbClr val="B42359"/>
                </a:solidFill>
              </a:rPr>
              <a:t>    }</a:t>
            </a:r>
          </a:p>
          <a:p>
            <a:r>
              <a:rPr lang="en-IN" dirty="0" smtClean="0">
                <a:solidFill>
                  <a:srgbClr val="B42359"/>
                </a:solidFill>
              </a:rPr>
              <a:t>     public </a:t>
            </a:r>
            <a:r>
              <a:rPr lang="en-IN" dirty="0" err="1" smtClean="0">
                <a:solidFill>
                  <a:srgbClr val="B42359"/>
                </a:solidFill>
              </a:rPr>
              <a:t>WebDriver</a:t>
            </a:r>
            <a:r>
              <a:rPr lang="en-IN" dirty="0" smtClean="0">
                <a:solidFill>
                  <a:srgbClr val="B42359"/>
                </a:solidFill>
              </a:rPr>
              <a:t> </a:t>
            </a:r>
            <a:r>
              <a:rPr lang="en-IN" dirty="0" err="1" smtClean="0">
                <a:solidFill>
                  <a:srgbClr val="B42359"/>
                </a:solidFill>
              </a:rPr>
              <a:t>getDriver</a:t>
            </a:r>
            <a:r>
              <a:rPr lang="en-IN" dirty="0" smtClean="0">
                <a:solidFill>
                  <a:srgbClr val="B42359"/>
                </a:solidFill>
              </a:rPr>
              <a:t>() {</a:t>
            </a:r>
          </a:p>
          <a:p>
            <a:r>
              <a:rPr lang="en-IN" dirty="0" smtClean="0">
                <a:solidFill>
                  <a:srgbClr val="B42359"/>
                </a:solidFill>
              </a:rPr>
              <a:t>        //Get driver from </a:t>
            </a:r>
            <a:r>
              <a:rPr lang="en-IN" dirty="0" err="1" smtClean="0">
                <a:solidFill>
                  <a:srgbClr val="B42359"/>
                </a:solidFill>
              </a:rPr>
              <a:t>ThreadLocalMap</a:t>
            </a:r>
            <a:endParaRPr lang="en-IN" dirty="0" smtClean="0">
              <a:solidFill>
                <a:srgbClr val="B42359"/>
              </a:solidFill>
            </a:endParaRPr>
          </a:p>
          <a:p>
            <a:r>
              <a:rPr lang="en-IN" dirty="0" smtClean="0">
                <a:solidFill>
                  <a:srgbClr val="B42359"/>
                </a:solidFill>
              </a:rPr>
              <a:t>        return </a:t>
            </a:r>
            <a:r>
              <a:rPr lang="en-IN" dirty="0" err="1" smtClean="0">
                <a:solidFill>
                  <a:srgbClr val="B42359"/>
                </a:solidFill>
              </a:rPr>
              <a:t>driver.get</a:t>
            </a:r>
            <a:r>
              <a:rPr lang="en-IN" dirty="0" smtClean="0">
                <a:solidFill>
                  <a:srgbClr val="B42359"/>
                </a:solidFill>
              </a:rPr>
              <a:t>();</a:t>
            </a:r>
          </a:p>
          <a:p>
            <a:r>
              <a:rPr lang="en-IN" dirty="0" smtClean="0">
                <a:solidFill>
                  <a:srgbClr val="B42359"/>
                </a:solidFill>
              </a:rPr>
              <a:t>    }</a:t>
            </a:r>
          </a:p>
          <a:p>
            <a:r>
              <a:rPr lang="en-IN" dirty="0" smtClean="0">
                <a:solidFill>
                  <a:srgbClr val="B42359"/>
                </a:solidFill>
              </a:rPr>
              <a:t>     @</a:t>
            </a:r>
            <a:r>
              <a:rPr lang="en-IN" dirty="0" err="1" smtClean="0">
                <a:solidFill>
                  <a:srgbClr val="B42359"/>
                </a:solidFill>
              </a:rPr>
              <a:t>AfterMethod</a:t>
            </a:r>
            <a:endParaRPr lang="en-IN" dirty="0" smtClean="0">
              <a:solidFill>
                <a:srgbClr val="B42359"/>
              </a:solidFill>
            </a:endParaRPr>
          </a:p>
          <a:p>
            <a:r>
              <a:rPr lang="en-IN" dirty="0" smtClean="0">
                <a:solidFill>
                  <a:srgbClr val="B42359"/>
                </a:solidFill>
              </a:rPr>
              <a:t>    public void </a:t>
            </a:r>
            <a:r>
              <a:rPr lang="en-IN" dirty="0" err="1" smtClean="0">
                <a:solidFill>
                  <a:srgbClr val="B42359"/>
                </a:solidFill>
              </a:rPr>
              <a:t>tearDown</a:t>
            </a:r>
            <a:r>
              <a:rPr lang="en-IN" dirty="0" smtClean="0">
                <a:solidFill>
                  <a:srgbClr val="B42359"/>
                </a:solidFill>
              </a:rPr>
              <a:t>() throws Exception {</a:t>
            </a:r>
          </a:p>
          <a:p>
            <a:r>
              <a:rPr lang="en-IN" dirty="0" smtClean="0">
                <a:solidFill>
                  <a:srgbClr val="B42359"/>
                </a:solidFill>
              </a:rPr>
              <a:t>        </a:t>
            </a:r>
            <a:r>
              <a:rPr lang="en-IN" dirty="0" err="1" smtClean="0">
                <a:solidFill>
                  <a:srgbClr val="B42359"/>
                </a:solidFill>
              </a:rPr>
              <a:t>getDriver</a:t>
            </a:r>
            <a:r>
              <a:rPr lang="en-IN" dirty="0" smtClean="0">
                <a:solidFill>
                  <a:srgbClr val="B42359"/>
                </a:solidFill>
              </a:rPr>
              <a:t>().quit();</a:t>
            </a:r>
          </a:p>
          <a:p>
            <a:r>
              <a:rPr lang="en-IN" dirty="0" smtClean="0">
                <a:solidFill>
                  <a:srgbClr val="B42359"/>
                </a:solidFill>
              </a:rPr>
              <a:t>    }</a:t>
            </a:r>
          </a:p>
          <a:p>
            <a:r>
              <a:rPr lang="en-IN" dirty="0" smtClean="0">
                <a:solidFill>
                  <a:srgbClr val="B42359"/>
                </a:solidFill>
              </a:rPr>
              <a:t>     @</a:t>
            </a:r>
            <a:r>
              <a:rPr lang="en-IN" dirty="0" err="1" smtClean="0">
                <a:solidFill>
                  <a:srgbClr val="B42359"/>
                </a:solidFill>
              </a:rPr>
              <a:t>AfterClass</a:t>
            </a:r>
            <a:r>
              <a:rPr lang="en-IN" dirty="0" smtClean="0">
                <a:solidFill>
                  <a:srgbClr val="B42359"/>
                </a:solidFill>
              </a:rPr>
              <a:t> void terminate () {</a:t>
            </a:r>
          </a:p>
          <a:p>
            <a:r>
              <a:rPr lang="en-IN" dirty="0" smtClean="0">
                <a:solidFill>
                  <a:srgbClr val="B42359"/>
                </a:solidFill>
              </a:rPr>
              <a:t>        //Remove the </a:t>
            </a:r>
            <a:r>
              <a:rPr lang="en-IN" dirty="0" err="1" smtClean="0">
                <a:solidFill>
                  <a:srgbClr val="B42359"/>
                </a:solidFill>
              </a:rPr>
              <a:t>ThreadLocalMap</a:t>
            </a:r>
            <a:r>
              <a:rPr lang="en-IN" dirty="0" smtClean="0">
                <a:solidFill>
                  <a:srgbClr val="B42359"/>
                </a:solidFill>
              </a:rPr>
              <a:t> element</a:t>
            </a:r>
          </a:p>
          <a:p>
            <a:r>
              <a:rPr lang="en-IN" dirty="0" smtClean="0">
                <a:solidFill>
                  <a:srgbClr val="B42359"/>
                </a:solidFill>
              </a:rPr>
              <a:t>        </a:t>
            </a:r>
            <a:r>
              <a:rPr lang="en-IN" dirty="0" err="1" smtClean="0">
                <a:solidFill>
                  <a:srgbClr val="B42359"/>
                </a:solidFill>
              </a:rPr>
              <a:t>driver.remove</a:t>
            </a:r>
            <a:r>
              <a:rPr lang="en-IN" dirty="0" smtClean="0">
                <a:solidFill>
                  <a:srgbClr val="B42359"/>
                </a:solidFill>
              </a:rPr>
              <a:t>();</a:t>
            </a:r>
          </a:p>
          <a:p>
            <a:r>
              <a:rPr lang="en-IN" dirty="0" smtClean="0">
                <a:solidFill>
                  <a:srgbClr val="B42359"/>
                </a:solidFill>
              </a:rPr>
              <a:t>    }</a:t>
            </a:r>
          </a:p>
          <a:p>
            <a:r>
              <a:rPr lang="en-IN" dirty="0" smtClean="0">
                <a:solidFill>
                  <a:srgbClr val="B42359"/>
                </a:solidFill>
              </a:rPr>
              <a:t>}</a:t>
            </a:r>
          </a:p>
        </p:txBody>
      </p:sp>
    </p:spTree>
    <p:extLst>
      <p:ext uri="{BB962C8B-B14F-4D97-AF65-F5344CB8AC3E}">
        <p14:creationId xmlns:p14="http://schemas.microsoft.com/office/powerpoint/2010/main" val="166514016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Additional Parallel run program </a:t>
            </a:r>
            <a:endParaRPr lang="en-IN" dirty="0"/>
          </a:p>
        </p:txBody>
      </p:sp>
      <p:sp>
        <p:nvSpPr>
          <p:cNvPr id="7" name="TextBox 6"/>
          <p:cNvSpPr txBox="1"/>
          <p:nvPr/>
        </p:nvSpPr>
        <p:spPr>
          <a:xfrm>
            <a:off x="419100" y="8001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1981200" y="4394200"/>
            <a:ext cx="6591300" cy="369332"/>
          </a:xfrm>
          <a:prstGeom prst="rect">
            <a:avLst/>
          </a:prstGeom>
        </p:spPr>
        <p:txBody>
          <a:bodyPr wrap="square">
            <a:spAutoFit/>
          </a:bodyPr>
          <a:lstStyle/>
          <a:p>
            <a:r>
              <a:rPr lang="en-IN" i="1" dirty="0" smtClean="0"/>
              <a:t>.</a:t>
            </a:r>
            <a:endParaRPr lang="en-IN" i="1" dirty="0"/>
          </a:p>
        </p:txBody>
      </p:sp>
      <p:sp>
        <p:nvSpPr>
          <p:cNvPr id="12" name="Rectangle 11"/>
          <p:cNvSpPr/>
          <p:nvPr/>
        </p:nvSpPr>
        <p:spPr>
          <a:xfrm>
            <a:off x="1092200" y="596900"/>
            <a:ext cx="7467600" cy="1200329"/>
          </a:xfrm>
          <a:prstGeom prst="rect">
            <a:avLst/>
          </a:prstGeom>
        </p:spPr>
        <p:txBody>
          <a:bodyPr wrap="square">
            <a:spAutoFit/>
          </a:bodyPr>
          <a:lstStyle/>
          <a:p>
            <a:endParaRPr lang="en-IN" i="1" dirty="0" smtClean="0">
              <a:solidFill>
                <a:srgbClr val="B42359"/>
              </a:solidFill>
            </a:endParaRPr>
          </a:p>
          <a:p>
            <a:endParaRPr lang="en-IN" i="1" dirty="0" smtClean="0">
              <a:solidFill>
                <a:srgbClr val="B42359"/>
              </a:solidFill>
            </a:endParaRPr>
          </a:p>
          <a:p>
            <a:endParaRPr lang="en-IN" dirty="0" smtClean="0"/>
          </a:p>
          <a:p>
            <a:r>
              <a:rPr lang="en-IN" dirty="0" smtClean="0"/>
              <a:t>	</a:t>
            </a:r>
            <a:endParaRPr lang="en-IN" dirty="0"/>
          </a:p>
        </p:txBody>
      </p:sp>
      <p:sp>
        <p:nvSpPr>
          <p:cNvPr id="9" name="TextBox 8"/>
          <p:cNvSpPr txBox="1"/>
          <p:nvPr/>
        </p:nvSpPr>
        <p:spPr>
          <a:xfrm>
            <a:off x="927100" y="1171760"/>
            <a:ext cx="7454900" cy="3139321"/>
          </a:xfrm>
          <a:prstGeom prst="rect">
            <a:avLst/>
          </a:prstGeom>
          <a:noFill/>
        </p:spPr>
        <p:txBody>
          <a:bodyPr wrap="square" rtlCol="0">
            <a:spAutoFit/>
          </a:bodyPr>
          <a:lstStyle/>
          <a:p>
            <a:r>
              <a:rPr lang="en-IN" dirty="0" smtClean="0">
                <a:solidFill>
                  <a:srgbClr val="B42359"/>
                </a:solidFill>
              </a:rPr>
              <a:t>&lt;?xml version=</a:t>
            </a:r>
            <a:r>
              <a:rPr lang="en-IN" i="1" dirty="0" smtClean="0">
                <a:solidFill>
                  <a:srgbClr val="B42359"/>
                </a:solidFill>
              </a:rPr>
              <a:t>"1.0" encoding="UTF-8"?&gt;</a:t>
            </a:r>
          </a:p>
          <a:p>
            <a:r>
              <a:rPr lang="fr-FR" dirty="0" smtClean="0">
                <a:solidFill>
                  <a:srgbClr val="B42359"/>
                </a:solidFill>
              </a:rPr>
              <a:t>&lt;!DOCTYPE suite SYSTEM "http://testng.org/testng-1.0.dtd"&gt;</a:t>
            </a:r>
          </a:p>
          <a:p>
            <a:r>
              <a:rPr lang="en-IN" dirty="0" smtClean="0">
                <a:solidFill>
                  <a:srgbClr val="B42359"/>
                </a:solidFill>
              </a:rPr>
              <a:t>&lt;suite thread-count=</a:t>
            </a:r>
            <a:r>
              <a:rPr lang="en-IN" i="1" dirty="0" smtClean="0">
                <a:solidFill>
                  <a:srgbClr val="B42359"/>
                </a:solidFill>
              </a:rPr>
              <a:t>"3" name="Suite" parallel="tests"&gt;</a:t>
            </a:r>
          </a:p>
          <a:p>
            <a:r>
              <a:rPr lang="en-IN" dirty="0" smtClean="0">
                <a:solidFill>
                  <a:srgbClr val="B42359"/>
                </a:solidFill>
              </a:rPr>
              <a:t>    &lt;!-- First Test --&gt;</a:t>
            </a:r>
          </a:p>
          <a:p>
            <a:r>
              <a:rPr lang="en-IN" dirty="0" smtClean="0">
                <a:solidFill>
                  <a:srgbClr val="B42359"/>
                </a:solidFill>
              </a:rPr>
              <a:t>    &lt;test name=</a:t>
            </a:r>
            <a:r>
              <a:rPr lang="en-IN" i="1" dirty="0" smtClean="0">
                <a:solidFill>
                  <a:srgbClr val="B42359"/>
                </a:solidFill>
              </a:rPr>
              <a:t>"</a:t>
            </a:r>
            <a:r>
              <a:rPr lang="en-IN" i="1" dirty="0" err="1" smtClean="0">
                <a:solidFill>
                  <a:srgbClr val="B42359"/>
                </a:solidFill>
              </a:rPr>
              <a:t>SecondTest</a:t>
            </a:r>
            <a:r>
              <a:rPr lang="en-IN" i="1" dirty="0" smtClean="0">
                <a:solidFill>
                  <a:srgbClr val="B42359"/>
                </a:solidFill>
              </a:rPr>
              <a:t>" thread-count="5" parallel="methods" &gt;</a:t>
            </a:r>
          </a:p>
          <a:p>
            <a:r>
              <a:rPr lang="en-IN" dirty="0" smtClean="0">
                <a:solidFill>
                  <a:srgbClr val="B42359"/>
                </a:solidFill>
              </a:rPr>
              <a:t>        &lt;parameter name=</a:t>
            </a:r>
            <a:r>
              <a:rPr lang="en-IN" i="1" dirty="0" smtClean="0">
                <a:solidFill>
                  <a:srgbClr val="B42359"/>
                </a:solidFill>
              </a:rPr>
              <a:t>"browser" value="</a:t>
            </a:r>
            <a:r>
              <a:rPr lang="en-IN" i="1" dirty="0" err="1" smtClean="0">
                <a:solidFill>
                  <a:srgbClr val="B42359"/>
                </a:solidFill>
              </a:rPr>
              <a:t>firefox</a:t>
            </a:r>
            <a:r>
              <a:rPr lang="en-IN" i="1" dirty="0" smtClean="0">
                <a:solidFill>
                  <a:srgbClr val="B42359"/>
                </a:solidFill>
              </a:rPr>
              <a:t>"/&gt;</a:t>
            </a:r>
          </a:p>
          <a:p>
            <a:r>
              <a:rPr lang="en-IN" dirty="0" smtClean="0">
                <a:solidFill>
                  <a:srgbClr val="B42359"/>
                </a:solidFill>
              </a:rPr>
              <a:t>        &lt;classes&gt;</a:t>
            </a:r>
          </a:p>
          <a:p>
            <a:r>
              <a:rPr lang="en-IN" dirty="0" smtClean="0">
                <a:solidFill>
                  <a:srgbClr val="B42359"/>
                </a:solidFill>
              </a:rPr>
              <a:t>            &lt;class name=</a:t>
            </a:r>
            <a:r>
              <a:rPr lang="en-IN" i="1" dirty="0" smtClean="0">
                <a:solidFill>
                  <a:srgbClr val="B42359"/>
                </a:solidFill>
              </a:rPr>
              <a:t>"</a:t>
            </a:r>
            <a:r>
              <a:rPr lang="en-IN" i="1" dirty="0" err="1" smtClean="0">
                <a:solidFill>
                  <a:srgbClr val="B42359"/>
                </a:solidFill>
              </a:rPr>
              <a:t>AOF.parellel.ParallelTestB</a:t>
            </a:r>
            <a:r>
              <a:rPr lang="en-IN" i="1" dirty="0" smtClean="0">
                <a:solidFill>
                  <a:srgbClr val="B42359"/>
                </a:solidFill>
              </a:rPr>
              <a:t>"/&gt;</a:t>
            </a:r>
          </a:p>
          <a:p>
            <a:r>
              <a:rPr lang="en-IN" dirty="0" smtClean="0">
                <a:solidFill>
                  <a:srgbClr val="B42359"/>
                </a:solidFill>
              </a:rPr>
              <a:t>        &lt;/classes&gt;</a:t>
            </a:r>
          </a:p>
          <a:p>
            <a:r>
              <a:rPr lang="en-IN" dirty="0" smtClean="0">
                <a:solidFill>
                  <a:srgbClr val="B42359"/>
                </a:solidFill>
              </a:rPr>
              <a:t>    &lt;/test&gt; &lt;!-- Second Test --&gt;</a:t>
            </a:r>
          </a:p>
          <a:p>
            <a:r>
              <a:rPr lang="en-IN" dirty="0" smtClean="0">
                <a:solidFill>
                  <a:srgbClr val="B42359"/>
                </a:solidFill>
              </a:rPr>
              <a:t>&lt;/suite&gt; &lt;!-- Suite --&gt;</a:t>
            </a:r>
          </a:p>
        </p:txBody>
      </p:sp>
    </p:spTree>
    <p:extLst>
      <p:ext uri="{BB962C8B-B14F-4D97-AF65-F5344CB8AC3E}">
        <p14:creationId xmlns:p14="http://schemas.microsoft.com/office/powerpoint/2010/main" val="115886728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Thread Local</a:t>
            </a:r>
            <a:endParaRPr lang="en-IN" dirty="0"/>
          </a:p>
        </p:txBody>
      </p:sp>
      <p:sp>
        <p:nvSpPr>
          <p:cNvPr id="7" name="TextBox 6"/>
          <p:cNvSpPr txBox="1"/>
          <p:nvPr/>
        </p:nvSpPr>
        <p:spPr>
          <a:xfrm>
            <a:off x="419100" y="8001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1981200" y="4394200"/>
            <a:ext cx="6591300" cy="369332"/>
          </a:xfrm>
          <a:prstGeom prst="rect">
            <a:avLst/>
          </a:prstGeom>
        </p:spPr>
        <p:txBody>
          <a:bodyPr wrap="square">
            <a:spAutoFit/>
          </a:bodyPr>
          <a:lstStyle/>
          <a:p>
            <a:r>
              <a:rPr lang="en-IN" i="1" dirty="0" smtClean="0"/>
              <a:t>.</a:t>
            </a:r>
            <a:endParaRPr lang="en-IN" i="1" dirty="0"/>
          </a:p>
        </p:txBody>
      </p:sp>
      <p:sp>
        <p:nvSpPr>
          <p:cNvPr id="12" name="Rectangle 11"/>
          <p:cNvSpPr/>
          <p:nvPr/>
        </p:nvSpPr>
        <p:spPr>
          <a:xfrm>
            <a:off x="1092200" y="596900"/>
            <a:ext cx="7467600" cy="1200329"/>
          </a:xfrm>
          <a:prstGeom prst="rect">
            <a:avLst/>
          </a:prstGeom>
        </p:spPr>
        <p:txBody>
          <a:bodyPr wrap="square">
            <a:spAutoFit/>
          </a:bodyPr>
          <a:lstStyle/>
          <a:p>
            <a:endParaRPr lang="en-IN" i="1" dirty="0" smtClean="0">
              <a:solidFill>
                <a:srgbClr val="B42359"/>
              </a:solidFill>
            </a:endParaRPr>
          </a:p>
          <a:p>
            <a:endParaRPr lang="en-IN" i="1" dirty="0" smtClean="0">
              <a:solidFill>
                <a:srgbClr val="B42359"/>
              </a:solidFill>
            </a:endParaRPr>
          </a:p>
          <a:p>
            <a:endParaRPr lang="en-IN" dirty="0" smtClean="0"/>
          </a:p>
          <a:p>
            <a:r>
              <a:rPr lang="en-IN" dirty="0" smtClean="0"/>
              <a:t>	</a:t>
            </a:r>
            <a:endParaRPr lang="en-IN" dirty="0"/>
          </a:p>
        </p:txBody>
      </p:sp>
      <p:sp>
        <p:nvSpPr>
          <p:cNvPr id="9" name="TextBox 8"/>
          <p:cNvSpPr txBox="1"/>
          <p:nvPr/>
        </p:nvSpPr>
        <p:spPr>
          <a:xfrm>
            <a:off x="800100" y="1130300"/>
            <a:ext cx="7454900" cy="3970318"/>
          </a:xfrm>
          <a:prstGeom prst="rect">
            <a:avLst/>
          </a:prstGeom>
          <a:noFill/>
        </p:spPr>
        <p:txBody>
          <a:bodyPr wrap="square" rtlCol="0">
            <a:spAutoFit/>
          </a:bodyPr>
          <a:lstStyle/>
          <a:p>
            <a:pPr algn="just"/>
            <a:r>
              <a:rPr lang="en-IN" dirty="0" smtClean="0">
                <a:solidFill>
                  <a:schemeClr val="tx2"/>
                </a:solidFill>
                <a:latin typeface="+mn-lt"/>
              </a:rPr>
              <a:t>Thread Local can be considered as a scope of access, like a </a:t>
            </a:r>
            <a:r>
              <a:rPr lang="en-IN" i="1" dirty="0" smtClean="0">
                <a:solidFill>
                  <a:schemeClr val="tx2"/>
                </a:solidFill>
                <a:latin typeface="+mn-lt"/>
              </a:rPr>
              <a:t>request scope </a:t>
            </a:r>
            <a:r>
              <a:rPr lang="en-IN" dirty="0" smtClean="0">
                <a:solidFill>
                  <a:schemeClr val="tx2"/>
                </a:solidFill>
                <a:latin typeface="+mn-lt"/>
              </a:rPr>
              <a:t>or </a:t>
            </a:r>
            <a:r>
              <a:rPr lang="en-IN" i="1" dirty="0" smtClean="0">
                <a:solidFill>
                  <a:schemeClr val="tx2"/>
                </a:solidFill>
                <a:latin typeface="+mn-lt"/>
              </a:rPr>
              <a:t>session scope</a:t>
            </a:r>
            <a:r>
              <a:rPr lang="en-IN" dirty="0" smtClean="0">
                <a:solidFill>
                  <a:schemeClr val="tx2"/>
                </a:solidFill>
                <a:latin typeface="+mn-lt"/>
              </a:rPr>
              <a:t>. It’s a </a:t>
            </a:r>
            <a:r>
              <a:rPr lang="en-IN" i="1" dirty="0" smtClean="0">
                <a:solidFill>
                  <a:schemeClr val="tx2"/>
                </a:solidFill>
                <a:latin typeface="+mn-lt"/>
              </a:rPr>
              <a:t>thread scope.</a:t>
            </a:r>
            <a:r>
              <a:rPr lang="en-IN" dirty="0" smtClean="0">
                <a:solidFill>
                  <a:schemeClr val="tx2"/>
                </a:solidFill>
                <a:latin typeface="+mn-lt"/>
              </a:rPr>
              <a:t> You can set any object in Thread Local and this object will be </a:t>
            </a:r>
            <a:r>
              <a:rPr lang="en-IN" i="1" dirty="0" smtClean="0">
                <a:solidFill>
                  <a:schemeClr val="tx2"/>
                </a:solidFill>
                <a:latin typeface="+mn-lt"/>
              </a:rPr>
              <a:t>global</a:t>
            </a:r>
            <a:r>
              <a:rPr lang="en-IN" dirty="0" smtClean="0">
                <a:solidFill>
                  <a:schemeClr val="tx2"/>
                </a:solidFill>
                <a:latin typeface="+mn-lt"/>
              </a:rPr>
              <a:t> and </a:t>
            </a:r>
            <a:r>
              <a:rPr lang="en-IN" i="1" dirty="0" smtClean="0">
                <a:solidFill>
                  <a:schemeClr val="tx2"/>
                </a:solidFill>
                <a:latin typeface="+mn-lt"/>
              </a:rPr>
              <a:t>local</a:t>
            </a:r>
            <a:r>
              <a:rPr lang="en-IN" dirty="0" smtClean="0">
                <a:solidFill>
                  <a:schemeClr val="tx2"/>
                </a:solidFill>
                <a:latin typeface="+mn-lt"/>
              </a:rPr>
              <a:t> to the specific thread which is accessing this object. </a:t>
            </a:r>
          </a:p>
          <a:p>
            <a:pPr algn="just"/>
            <a:endParaRPr lang="en-IN" dirty="0" smtClean="0">
              <a:solidFill>
                <a:schemeClr val="tx2"/>
              </a:solidFill>
              <a:latin typeface="+mn-lt"/>
            </a:endParaRPr>
          </a:p>
          <a:p>
            <a:pPr marL="285750" indent="-285750" algn="just">
              <a:buClr>
                <a:srgbClr val="007BA2"/>
              </a:buClr>
              <a:buFont typeface="Wingdings" panose="05000000000000000000" pitchFamily="2" charset="2"/>
              <a:buChar char="Ø"/>
            </a:pPr>
            <a:r>
              <a:rPr lang="en-IN" dirty="0" smtClean="0">
                <a:solidFill>
                  <a:schemeClr val="tx2"/>
                </a:solidFill>
                <a:latin typeface="+mn-lt"/>
              </a:rPr>
              <a:t> Values stored in Thread Local are </a:t>
            </a:r>
            <a:r>
              <a:rPr lang="en-IN" i="1" dirty="0" smtClean="0">
                <a:solidFill>
                  <a:schemeClr val="tx2"/>
                </a:solidFill>
                <a:latin typeface="+mn-lt"/>
              </a:rPr>
              <a:t>global </a:t>
            </a:r>
            <a:r>
              <a:rPr lang="en-IN" dirty="0" smtClean="0">
                <a:solidFill>
                  <a:schemeClr val="tx2"/>
                </a:solidFill>
                <a:latin typeface="+mn-lt"/>
              </a:rPr>
              <a:t>to the thread, meaning that they can be accessed from anywhere inside that thread.</a:t>
            </a:r>
          </a:p>
          <a:p>
            <a:pPr marL="285750" indent="-285750" algn="just">
              <a:buClr>
                <a:srgbClr val="007BA2"/>
              </a:buClr>
              <a:buFont typeface="Wingdings" panose="05000000000000000000" pitchFamily="2" charset="2"/>
              <a:buChar char="Ø"/>
            </a:pPr>
            <a:endParaRPr lang="en-IN" dirty="0" smtClean="0">
              <a:solidFill>
                <a:schemeClr val="tx2"/>
              </a:solidFill>
              <a:latin typeface="+mn-lt"/>
            </a:endParaRPr>
          </a:p>
          <a:p>
            <a:pPr marL="285750" indent="-285750" algn="just">
              <a:buClr>
                <a:srgbClr val="007BA2"/>
              </a:buClr>
              <a:buFont typeface="Wingdings" panose="05000000000000000000" pitchFamily="2" charset="2"/>
              <a:buChar char="Ø"/>
            </a:pPr>
            <a:r>
              <a:rPr lang="en-IN" dirty="0" smtClean="0">
                <a:solidFill>
                  <a:schemeClr val="tx2"/>
                </a:solidFill>
                <a:latin typeface="+mn-lt"/>
              </a:rPr>
              <a:t> Values stored in Thread Local are </a:t>
            </a:r>
            <a:r>
              <a:rPr lang="en-IN" i="1" dirty="0" smtClean="0">
                <a:solidFill>
                  <a:schemeClr val="tx2"/>
                </a:solidFill>
                <a:latin typeface="+mn-lt"/>
              </a:rPr>
              <a:t>local</a:t>
            </a:r>
            <a:r>
              <a:rPr lang="en-IN" dirty="0" smtClean="0">
                <a:solidFill>
                  <a:schemeClr val="tx2"/>
                </a:solidFill>
                <a:latin typeface="+mn-lt"/>
              </a:rPr>
              <a:t> to the thread, meaning that each thread will have it’s own Thread Local variable.</a:t>
            </a:r>
          </a:p>
          <a:p>
            <a:pPr algn="just">
              <a:buFont typeface="Wingdings" pitchFamily="2" charset="2"/>
              <a:buChar char="v"/>
            </a:pPr>
            <a:endParaRPr lang="en-IN" dirty="0" smtClean="0">
              <a:solidFill>
                <a:schemeClr val="tx2"/>
              </a:solidFill>
              <a:latin typeface="+mn-lt"/>
            </a:endParaRPr>
          </a:p>
          <a:p>
            <a:pPr algn="just"/>
            <a:r>
              <a:rPr lang="en-IN" b="1" dirty="0" smtClean="0">
                <a:solidFill>
                  <a:schemeClr val="tx2"/>
                </a:solidFill>
                <a:latin typeface="+mn-lt"/>
              </a:rPr>
              <a:t>Ex:- </a:t>
            </a:r>
          </a:p>
          <a:p>
            <a:r>
              <a:rPr lang="en-IN" b="1" dirty="0" smtClean="0">
                <a:solidFill>
                  <a:schemeClr val="tx2"/>
                </a:solidFill>
                <a:latin typeface="+mn-lt"/>
              </a:rPr>
              <a:t>protected static </a:t>
            </a:r>
            <a:r>
              <a:rPr lang="en-IN" b="1" dirty="0" err="1" smtClean="0">
                <a:solidFill>
                  <a:schemeClr val="tx2"/>
                </a:solidFill>
                <a:latin typeface="+mn-lt"/>
              </a:rPr>
              <a:t>ThreadLocal</a:t>
            </a:r>
            <a:r>
              <a:rPr lang="en-IN" b="1" dirty="0" smtClean="0">
                <a:solidFill>
                  <a:schemeClr val="tx2"/>
                </a:solidFill>
                <a:latin typeface="+mn-lt"/>
              </a:rPr>
              <a:t>&lt;</a:t>
            </a:r>
            <a:r>
              <a:rPr lang="en-IN" b="1" dirty="0" err="1" smtClean="0">
                <a:solidFill>
                  <a:schemeClr val="tx2"/>
                </a:solidFill>
                <a:latin typeface="+mn-lt"/>
              </a:rPr>
              <a:t>RemoteWebDriver</a:t>
            </a:r>
            <a:r>
              <a:rPr lang="en-IN" b="1" dirty="0" smtClean="0">
                <a:solidFill>
                  <a:schemeClr val="tx2"/>
                </a:solidFill>
                <a:latin typeface="+mn-lt"/>
              </a:rPr>
              <a:t>&gt; </a:t>
            </a:r>
            <a:r>
              <a:rPr lang="en-IN" b="1" i="1" dirty="0" smtClean="0">
                <a:solidFill>
                  <a:schemeClr val="tx2"/>
                </a:solidFill>
                <a:latin typeface="+mn-lt"/>
              </a:rPr>
              <a:t>driver = new </a:t>
            </a:r>
            <a:r>
              <a:rPr lang="en-IN" b="1" i="1" dirty="0" err="1" smtClean="0">
                <a:solidFill>
                  <a:schemeClr val="tx2"/>
                </a:solidFill>
                <a:latin typeface="+mn-lt"/>
              </a:rPr>
              <a:t>ThreadLocal</a:t>
            </a:r>
            <a:r>
              <a:rPr lang="en-IN" b="1" i="1" dirty="0" smtClean="0">
                <a:solidFill>
                  <a:schemeClr val="tx2"/>
                </a:solidFill>
                <a:latin typeface="+mn-lt"/>
              </a:rPr>
              <a:t>&lt;&gt;();</a:t>
            </a:r>
            <a:r>
              <a:rPr lang="en-IN" dirty="0" smtClean="0">
                <a:solidFill>
                  <a:schemeClr val="tx2"/>
                </a:solidFill>
                <a:latin typeface="+mn-lt"/>
              </a:rPr>
              <a:t> </a:t>
            </a:r>
          </a:p>
        </p:txBody>
      </p:sp>
    </p:spTree>
    <p:extLst>
      <p:ext uri="{BB962C8B-B14F-4D97-AF65-F5344CB8AC3E}">
        <p14:creationId xmlns:p14="http://schemas.microsoft.com/office/powerpoint/2010/main" val="97543631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630574" y="1433352"/>
            <a:ext cx="4027804" cy="2829533"/>
          </a:xfrm>
        </p:spPr>
      </p:pic>
    </p:spTree>
    <p:extLst>
      <p:ext uri="{BB962C8B-B14F-4D97-AF65-F5344CB8AC3E}">
        <p14:creationId xmlns:p14="http://schemas.microsoft.com/office/powerpoint/2010/main" val="2940524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7100" y="165100"/>
            <a:ext cx="8019254" cy="430887"/>
          </a:xfrm>
        </p:spPr>
        <p:txBody>
          <a:bodyPr/>
          <a:lstStyle/>
          <a:p>
            <a:r>
              <a:rPr lang="en-IN" dirty="0" smtClean="0"/>
              <a:t>Assignment</a:t>
            </a:r>
            <a:endParaRPr lang="en-IN" dirty="0"/>
          </a:p>
        </p:txBody>
      </p:sp>
      <p:sp>
        <p:nvSpPr>
          <p:cNvPr id="7" name="TextBox 6"/>
          <p:cNvSpPr txBox="1"/>
          <p:nvPr/>
        </p:nvSpPr>
        <p:spPr>
          <a:xfrm>
            <a:off x="419100" y="800100"/>
            <a:ext cx="8724900"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1981200" y="4394200"/>
            <a:ext cx="6591300" cy="369332"/>
          </a:xfrm>
          <a:prstGeom prst="rect">
            <a:avLst/>
          </a:prstGeom>
        </p:spPr>
        <p:txBody>
          <a:bodyPr wrap="square">
            <a:spAutoFit/>
          </a:bodyPr>
          <a:lstStyle/>
          <a:p>
            <a:r>
              <a:rPr lang="en-IN" i="1" dirty="0" smtClean="0"/>
              <a:t>.</a:t>
            </a:r>
            <a:endParaRPr lang="en-IN" i="1" dirty="0"/>
          </a:p>
        </p:txBody>
      </p:sp>
      <p:sp>
        <p:nvSpPr>
          <p:cNvPr id="12" name="Rectangle 11"/>
          <p:cNvSpPr/>
          <p:nvPr/>
        </p:nvSpPr>
        <p:spPr>
          <a:xfrm>
            <a:off x="1092200" y="596900"/>
            <a:ext cx="7467600" cy="1200329"/>
          </a:xfrm>
          <a:prstGeom prst="rect">
            <a:avLst/>
          </a:prstGeom>
        </p:spPr>
        <p:txBody>
          <a:bodyPr wrap="square">
            <a:spAutoFit/>
          </a:bodyPr>
          <a:lstStyle/>
          <a:p>
            <a:endParaRPr lang="en-IN" i="1" dirty="0" smtClean="0">
              <a:solidFill>
                <a:srgbClr val="B42359"/>
              </a:solidFill>
            </a:endParaRPr>
          </a:p>
          <a:p>
            <a:endParaRPr lang="en-IN" i="1" dirty="0" smtClean="0">
              <a:solidFill>
                <a:srgbClr val="B42359"/>
              </a:solidFill>
            </a:endParaRPr>
          </a:p>
          <a:p>
            <a:endParaRPr lang="en-IN" dirty="0" smtClean="0"/>
          </a:p>
          <a:p>
            <a:r>
              <a:rPr lang="en-IN" dirty="0" smtClean="0"/>
              <a:t>	</a:t>
            </a:r>
            <a:endParaRPr lang="en-IN" dirty="0"/>
          </a:p>
        </p:txBody>
      </p:sp>
      <p:sp>
        <p:nvSpPr>
          <p:cNvPr id="9" name="TextBox 8"/>
          <p:cNvSpPr txBox="1"/>
          <p:nvPr/>
        </p:nvSpPr>
        <p:spPr>
          <a:xfrm>
            <a:off x="705646" y="870457"/>
            <a:ext cx="7469925" cy="4524315"/>
          </a:xfrm>
          <a:prstGeom prst="rect">
            <a:avLst/>
          </a:prstGeom>
          <a:noFill/>
        </p:spPr>
        <p:txBody>
          <a:bodyPr wrap="square" rtlCol="0">
            <a:spAutoFit/>
          </a:bodyPr>
          <a:lstStyle/>
          <a:p>
            <a:r>
              <a:rPr lang="en-IN" i="1" dirty="0" smtClean="0">
                <a:solidFill>
                  <a:schemeClr val="tx2"/>
                </a:solidFill>
                <a:latin typeface="+mn-lt"/>
              </a:rPr>
              <a:t>1. Selenium Grid</a:t>
            </a:r>
          </a:p>
          <a:p>
            <a:pPr marL="400050" indent="-400050">
              <a:buClr>
                <a:srgbClr val="007BA2"/>
              </a:buClr>
              <a:buFont typeface="Wingdings" panose="05000000000000000000" pitchFamily="2" charset="2"/>
              <a:buChar char="Ø"/>
            </a:pPr>
            <a:endParaRPr lang="en-IN" i="1" dirty="0">
              <a:solidFill>
                <a:schemeClr val="tx2"/>
              </a:solidFill>
              <a:latin typeface="+mn-lt"/>
            </a:endParaRPr>
          </a:p>
          <a:p>
            <a:pPr marL="857250" lvl="1" indent="-400050">
              <a:buClr>
                <a:srgbClr val="007BA2"/>
              </a:buClr>
              <a:buFont typeface="Wingdings" panose="05000000000000000000" pitchFamily="2" charset="2"/>
              <a:buChar char="Ø"/>
            </a:pPr>
            <a:r>
              <a:rPr lang="en-IN" i="1" dirty="0" smtClean="0">
                <a:solidFill>
                  <a:schemeClr val="tx2"/>
                </a:solidFill>
                <a:latin typeface="+mn-lt"/>
              </a:rPr>
              <a:t>Setup Hub, Node configuration and launch Chrome and Firefox to perform Mercury tours Registration.</a:t>
            </a:r>
          </a:p>
          <a:p>
            <a:pPr marL="857250" lvl="1" indent="-400050">
              <a:buClr>
                <a:srgbClr val="007BA2"/>
              </a:buClr>
              <a:buFont typeface="Wingdings" panose="05000000000000000000" pitchFamily="2" charset="2"/>
              <a:buChar char="Ø"/>
            </a:pPr>
            <a:endParaRPr lang="en-IN" i="1" dirty="0">
              <a:solidFill>
                <a:schemeClr val="tx2"/>
              </a:solidFill>
              <a:latin typeface="+mn-lt"/>
            </a:endParaRPr>
          </a:p>
          <a:p>
            <a:pPr marL="857250" lvl="1" indent="-400050">
              <a:buClr>
                <a:srgbClr val="007BA2"/>
              </a:buClr>
              <a:buFont typeface="Wingdings" panose="05000000000000000000" pitchFamily="2" charset="2"/>
              <a:buChar char="Ø"/>
            </a:pPr>
            <a:r>
              <a:rPr lang="en-IN" i="1" dirty="0" smtClean="0">
                <a:solidFill>
                  <a:schemeClr val="tx2"/>
                </a:solidFill>
                <a:latin typeface="+mn-lt"/>
              </a:rPr>
              <a:t>Launch 2 chrome browser and perform mercury login function.</a:t>
            </a:r>
          </a:p>
          <a:p>
            <a:pPr lvl="1"/>
            <a:endParaRPr lang="en-IN" i="1" dirty="0" smtClean="0">
              <a:solidFill>
                <a:schemeClr val="tx2"/>
              </a:solidFill>
              <a:latin typeface="+mn-lt"/>
            </a:endParaRPr>
          </a:p>
          <a:p>
            <a:pPr marL="342900" indent="-342900">
              <a:buAutoNum type="arabicPeriod" startAt="2"/>
            </a:pPr>
            <a:r>
              <a:rPr lang="en-IN" i="1" dirty="0" smtClean="0">
                <a:solidFill>
                  <a:schemeClr val="tx2"/>
                </a:solidFill>
                <a:latin typeface="+mn-lt"/>
              </a:rPr>
              <a:t>Create </a:t>
            </a:r>
            <a:r>
              <a:rPr lang="en-IN" i="1" dirty="0">
                <a:solidFill>
                  <a:schemeClr val="tx2"/>
                </a:solidFill>
                <a:latin typeface="+mn-lt"/>
              </a:rPr>
              <a:t>2 credentials in </a:t>
            </a:r>
            <a:r>
              <a:rPr lang="en-IN" i="1" dirty="0">
                <a:solidFill>
                  <a:schemeClr val="tx2"/>
                </a:solidFill>
                <a:latin typeface="+mn-lt"/>
                <a:hlinkClick r:id="rId3"/>
              </a:rPr>
              <a:t>http://</a:t>
            </a:r>
            <a:r>
              <a:rPr lang="en-IN" i="1" dirty="0" smtClean="0">
                <a:solidFill>
                  <a:schemeClr val="tx2"/>
                </a:solidFill>
                <a:latin typeface="+mn-lt"/>
                <a:hlinkClick r:id="rId3"/>
              </a:rPr>
              <a:t>www.phptravels.net</a:t>
            </a:r>
            <a:r>
              <a:rPr lang="en-IN" i="1" dirty="0" smtClean="0">
                <a:solidFill>
                  <a:schemeClr val="tx2"/>
                </a:solidFill>
                <a:latin typeface="+mn-lt"/>
              </a:rPr>
              <a:t> page then perform grid by using Excel, Hash map and Data Provider.</a:t>
            </a:r>
          </a:p>
          <a:p>
            <a:pPr marL="342900" indent="-342900">
              <a:buAutoNum type="arabicPeriod" startAt="2"/>
            </a:pPr>
            <a:endParaRPr lang="en-IN" i="1" dirty="0" smtClean="0">
              <a:solidFill>
                <a:schemeClr val="tx2"/>
              </a:solidFill>
              <a:latin typeface="+mn-lt"/>
            </a:endParaRPr>
          </a:p>
          <a:p>
            <a:pPr marL="800100" lvl="1" indent="-342900">
              <a:buClr>
                <a:srgbClr val="007BA2"/>
              </a:buClr>
              <a:buFont typeface="Wingdings" panose="05000000000000000000" pitchFamily="2" charset="2"/>
              <a:buChar char="Ø"/>
            </a:pPr>
            <a:r>
              <a:rPr lang="en-IN" i="1" dirty="0" smtClean="0">
                <a:solidFill>
                  <a:schemeClr val="tx2"/>
                </a:solidFill>
                <a:latin typeface="+mn-lt"/>
              </a:rPr>
              <a:t>Read values from Excel for sing-up.</a:t>
            </a:r>
          </a:p>
          <a:p>
            <a:pPr marL="800100" lvl="1" indent="-342900">
              <a:buClr>
                <a:srgbClr val="007BA2"/>
              </a:buClr>
              <a:buFont typeface="Wingdings" panose="05000000000000000000" pitchFamily="2" charset="2"/>
              <a:buChar char="Ø"/>
            </a:pPr>
            <a:endParaRPr lang="en-IN" i="1" dirty="0" smtClean="0">
              <a:solidFill>
                <a:schemeClr val="tx2"/>
              </a:solidFill>
              <a:latin typeface="+mn-lt"/>
            </a:endParaRPr>
          </a:p>
          <a:p>
            <a:pPr marL="800100" lvl="1" indent="-342900">
              <a:buClr>
                <a:srgbClr val="007BA2"/>
              </a:buClr>
              <a:buFont typeface="Wingdings" panose="05000000000000000000" pitchFamily="2" charset="2"/>
              <a:buChar char="Ø"/>
            </a:pPr>
            <a:r>
              <a:rPr lang="en-IN" i="1" dirty="0" smtClean="0">
                <a:solidFill>
                  <a:schemeClr val="tx2"/>
                </a:solidFill>
                <a:latin typeface="+mn-lt"/>
              </a:rPr>
              <a:t>Add 2 credentials into </a:t>
            </a:r>
            <a:r>
              <a:rPr lang="en-IN" i="1" dirty="0" err="1" smtClean="0">
                <a:solidFill>
                  <a:schemeClr val="tx2"/>
                </a:solidFill>
                <a:latin typeface="+mn-lt"/>
              </a:rPr>
              <a:t>Hashmap</a:t>
            </a:r>
            <a:endParaRPr lang="en-IN" i="1" dirty="0" smtClean="0">
              <a:solidFill>
                <a:schemeClr val="tx2"/>
              </a:solidFill>
              <a:latin typeface="+mn-lt"/>
            </a:endParaRPr>
          </a:p>
          <a:p>
            <a:pPr marL="800100" lvl="1" indent="-342900">
              <a:buClr>
                <a:srgbClr val="007BA2"/>
              </a:buClr>
              <a:buFont typeface="Wingdings" panose="05000000000000000000" pitchFamily="2" charset="2"/>
              <a:buChar char="Ø"/>
            </a:pPr>
            <a:endParaRPr lang="en-IN" i="1" dirty="0" smtClean="0">
              <a:solidFill>
                <a:schemeClr val="tx2"/>
              </a:solidFill>
              <a:latin typeface="+mn-lt"/>
            </a:endParaRPr>
          </a:p>
          <a:p>
            <a:pPr marL="800100" lvl="1" indent="-342900">
              <a:buClr>
                <a:srgbClr val="007BA2"/>
              </a:buClr>
              <a:buFont typeface="Wingdings" panose="05000000000000000000" pitchFamily="2" charset="2"/>
              <a:buChar char="Ø"/>
            </a:pPr>
            <a:r>
              <a:rPr lang="en-IN" i="1" dirty="0" smtClean="0">
                <a:solidFill>
                  <a:schemeClr val="tx2"/>
                </a:solidFill>
                <a:latin typeface="+mn-lt"/>
              </a:rPr>
              <a:t>Retrieve each set of value from </a:t>
            </a:r>
            <a:r>
              <a:rPr lang="en-IN" i="1" dirty="0">
                <a:solidFill>
                  <a:schemeClr val="tx2"/>
                </a:solidFill>
                <a:latin typeface="+mn-lt"/>
              </a:rPr>
              <a:t>H</a:t>
            </a:r>
            <a:r>
              <a:rPr lang="en-IN" i="1" dirty="0" smtClean="0">
                <a:solidFill>
                  <a:schemeClr val="tx2"/>
                </a:solidFill>
                <a:latin typeface="+mn-lt"/>
              </a:rPr>
              <a:t>ashmap then pass it into Data provider</a:t>
            </a:r>
            <a:r>
              <a:rPr lang="en-IN" i="1" dirty="0" smtClean="0">
                <a:solidFill>
                  <a:schemeClr val="tx2"/>
                </a:solidFill>
                <a:latin typeface="+mn-lt"/>
              </a:rPr>
              <a:t>.</a:t>
            </a:r>
            <a:endParaRPr lang="en-IN" dirty="0">
              <a:solidFill>
                <a:schemeClr val="tx2"/>
              </a:solidFill>
              <a:latin typeface="+mn-lt"/>
            </a:endParaRPr>
          </a:p>
        </p:txBody>
      </p:sp>
    </p:spTree>
    <p:extLst>
      <p:ext uri="{BB962C8B-B14F-4D97-AF65-F5344CB8AC3E}">
        <p14:creationId xmlns:p14="http://schemas.microsoft.com/office/powerpoint/2010/main" val="69230440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365" y="892629"/>
            <a:ext cx="8048355" cy="4528776"/>
          </a:xfrm>
          <a:prstGeom prst="rect">
            <a:avLst/>
          </a:prstGeom>
        </p:spPr>
      </p:pic>
      <p:sp>
        <p:nvSpPr>
          <p:cNvPr id="7" name="Title 3"/>
          <p:cNvSpPr txBox="1">
            <a:spLocks/>
          </p:cNvSpPr>
          <p:nvPr/>
        </p:nvSpPr>
        <p:spPr bwMode="gray">
          <a:xfrm>
            <a:off x="889164" y="4928962"/>
            <a:ext cx="7379724"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342900" rtl="0" eaLnBrk="1" fontAlgn="base" hangingPunct="1">
              <a:spcBef>
                <a:spcPct val="0"/>
              </a:spcBef>
              <a:spcAft>
                <a:spcPct val="0"/>
              </a:spcAft>
              <a:defRPr sz="2800" b="1" kern="1200">
                <a:solidFill>
                  <a:schemeClr val="tx2"/>
                </a:solidFill>
                <a:latin typeface="+mj-lt"/>
                <a:ea typeface="MS PGothic" pitchFamily="34" charset="-128"/>
                <a:cs typeface="Arial"/>
              </a:defRPr>
            </a:lvl1pPr>
            <a:lvl2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2pPr>
            <a:lvl3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3pPr>
            <a:lvl4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4pPr>
            <a:lvl5pPr algn="l" defTabSz="342900" rtl="0" eaLnBrk="1" fontAlgn="base" hangingPunct="1">
              <a:spcBef>
                <a:spcPct val="0"/>
              </a:spcBef>
              <a:spcAft>
                <a:spcPct val="0"/>
              </a:spcAft>
              <a:defRPr sz="3300" b="1">
                <a:solidFill>
                  <a:srgbClr val="B42359"/>
                </a:solidFill>
                <a:latin typeface="Arial" charset="0"/>
                <a:ea typeface="MS PGothic" pitchFamily="34" charset="-128"/>
                <a:cs typeface="Arial" charset="0"/>
              </a:defRPr>
            </a:lvl5pPr>
            <a:lvl6pPr marL="3429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6pPr>
            <a:lvl7pPr marL="6858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7pPr>
            <a:lvl8pPr marL="10287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8pPr>
            <a:lvl9pPr marL="1371600" algn="l" defTabSz="342900" rtl="0" eaLnBrk="1" fontAlgn="base" hangingPunct="1">
              <a:spcBef>
                <a:spcPct val="0"/>
              </a:spcBef>
              <a:spcAft>
                <a:spcPct val="0"/>
              </a:spcAft>
              <a:defRPr sz="3300">
                <a:solidFill>
                  <a:srgbClr val="B42359"/>
                </a:solidFill>
                <a:latin typeface="COUTURE Bold" charset="0"/>
                <a:ea typeface="ＭＳ Ｐゴシック" charset="0"/>
                <a:cs typeface="COUTURE Bold" charset="0"/>
              </a:defRPr>
            </a:lvl9pPr>
          </a:lstStyle>
          <a:p>
            <a:r>
              <a:rPr lang="en-US" sz="3200" b="0" i="1" dirty="0" smtClean="0"/>
              <a:t>Lets Conclude and see you in next session</a:t>
            </a:r>
            <a:endParaRPr lang="en-IN" sz="3200" b="0" i="1" dirty="0"/>
          </a:p>
        </p:txBody>
      </p:sp>
    </p:spTree>
    <p:extLst>
      <p:ext uri="{BB962C8B-B14F-4D97-AF65-F5344CB8AC3E}">
        <p14:creationId xmlns:p14="http://schemas.microsoft.com/office/powerpoint/2010/main" val="66736042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66682" y="1278229"/>
            <a:ext cx="4326496" cy="4326496"/>
          </a:xfrm>
          <a:prstGeom prst="rect">
            <a:avLst/>
          </a:prstGeom>
        </p:spPr>
      </p:pic>
    </p:spTree>
    <p:extLst>
      <p:ext uri="{BB962C8B-B14F-4D97-AF65-F5344CB8AC3E}">
        <p14:creationId xmlns:p14="http://schemas.microsoft.com/office/powerpoint/2010/main" val="169194360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62482" y="211703"/>
            <a:ext cx="6014441" cy="430887"/>
          </a:xfrm>
        </p:spPr>
        <p:txBody>
          <a:bodyPr/>
          <a:lstStyle/>
          <a:p>
            <a:r>
              <a:rPr lang="en-IN" dirty="0" smtClean="0"/>
              <a:t>TestNG parameter and DataProvider</a:t>
            </a:r>
            <a:endParaRPr lang="en-IN" dirty="0"/>
          </a:p>
        </p:txBody>
      </p:sp>
      <p:sp>
        <p:nvSpPr>
          <p:cNvPr id="7" name="TextBox 6"/>
          <p:cNvSpPr txBox="1"/>
          <p:nvPr/>
        </p:nvSpPr>
        <p:spPr>
          <a:xfrm>
            <a:off x="1457325" y="1457325"/>
            <a:ext cx="6543675"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2628900" y="4152900"/>
            <a:ext cx="4943475" cy="369332"/>
          </a:xfrm>
          <a:prstGeom prst="rect">
            <a:avLst/>
          </a:prstGeom>
        </p:spPr>
        <p:txBody>
          <a:bodyPr wrap="square">
            <a:spAutoFit/>
          </a:bodyPr>
          <a:lstStyle/>
          <a:p>
            <a:r>
              <a:rPr lang="en-IN" i="1" dirty="0" smtClean="0"/>
              <a:t>.</a:t>
            </a:r>
            <a:endParaRPr lang="en-IN" i="1" dirty="0"/>
          </a:p>
        </p:txBody>
      </p:sp>
      <p:sp>
        <p:nvSpPr>
          <p:cNvPr id="12" name="Rectangle 11"/>
          <p:cNvSpPr/>
          <p:nvPr/>
        </p:nvSpPr>
        <p:spPr>
          <a:xfrm>
            <a:off x="1369352" y="811171"/>
            <a:ext cx="5600700" cy="5632311"/>
          </a:xfrm>
          <a:prstGeom prst="rect">
            <a:avLst/>
          </a:prstGeom>
        </p:spPr>
        <p:txBody>
          <a:bodyPr wrap="square">
            <a:spAutoFit/>
          </a:bodyPr>
          <a:lstStyle/>
          <a:p>
            <a:pPr fontAlgn="t"/>
            <a:r>
              <a:rPr lang="en-IN" b="1" i="1" dirty="0" smtClean="0">
                <a:solidFill>
                  <a:srgbClr val="123761"/>
                </a:solidFill>
              </a:rPr>
              <a:t>public</a:t>
            </a:r>
            <a:r>
              <a:rPr lang="en-IN" i="1" dirty="0" smtClean="0">
                <a:solidFill>
                  <a:srgbClr val="123761"/>
                </a:solidFill>
              </a:rPr>
              <a:t> </a:t>
            </a:r>
            <a:r>
              <a:rPr lang="en-IN" b="1" i="1" dirty="0" smtClean="0">
                <a:solidFill>
                  <a:srgbClr val="123761"/>
                </a:solidFill>
              </a:rPr>
              <a:t>class</a:t>
            </a:r>
            <a:r>
              <a:rPr lang="en-IN" i="1" dirty="0" smtClean="0">
                <a:solidFill>
                  <a:srgbClr val="123761"/>
                </a:solidFill>
              </a:rPr>
              <a:t> </a:t>
            </a:r>
            <a:r>
              <a:rPr lang="en-IN" i="1" dirty="0" err="1" smtClean="0">
                <a:solidFill>
                  <a:srgbClr val="123761"/>
                </a:solidFill>
              </a:rPr>
              <a:t>TestngParameters</a:t>
            </a:r>
            <a:r>
              <a:rPr lang="en-IN" i="1" dirty="0" smtClean="0">
                <a:solidFill>
                  <a:srgbClr val="123761"/>
                </a:solidFill>
              </a:rPr>
              <a:t> {</a:t>
            </a:r>
          </a:p>
          <a:p>
            <a:pPr fontAlgn="t"/>
            <a:endParaRPr lang="en-IN" i="1" dirty="0" smtClean="0">
              <a:solidFill>
                <a:srgbClr val="123761"/>
              </a:solidFill>
            </a:endParaRPr>
          </a:p>
          <a:p>
            <a:pPr fontAlgn="t"/>
            <a:r>
              <a:rPr lang="en-IN" i="1" dirty="0" smtClean="0">
                <a:solidFill>
                  <a:srgbClr val="123761"/>
                </a:solidFill>
              </a:rPr>
              <a:t> </a:t>
            </a:r>
            <a:r>
              <a:rPr lang="en-IN" b="1" i="1" dirty="0" smtClean="0">
                <a:solidFill>
                  <a:srgbClr val="123761"/>
                </a:solidFill>
              </a:rPr>
              <a:t>private</a:t>
            </a:r>
            <a:r>
              <a:rPr lang="en-IN" i="1" dirty="0" smtClean="0">
                <a:solidFill>
                  <a:srgbClr val="123761"/>
                </a:solidFill>
              </a:rPr>
              <a:t> </a:t>
            </a:r>
            <a:r>
              <a:rPr lang="en-IN" b="1" i="1" dirty="0" smtClean="0">
                <a:solidFill>
                  <a:srgbClr val="123761"/>
                </a:solidFill>
              </a:rPr>
              <a:t>static</a:t>
            </a:r>
            <a:r>
              <a:rPr lang="en-IN" i="1" dirty="0" smtClean="0">
                <a:solidFill>
                  <a:srgbClr val="123761"/>
                </a:solidFill>
              </a:rPr>
              <a:t> WebDriver driver;</a:t>
            </a:r>
          </a:p>
          <a:p>
            <a:pPr fontAlgn="t"/>
            <a:endParaRPr lang="en-IN" i="1" dirty="0" smtClean="0">
              <a:solidFill>
                <a:srgbClr val="123761"/>
              </a:solidFill>
            </a:endParaRPr>
          </a:p>
          <a:p>
            <a:pPr fontAlgn="t"/>
            <a:r>
              <a:rPr lang="en-IN" i="1" dirty="0" smtClean="0">
                <a:solidFill>
                  <a:srgbClr val="123761"/>
                </a:solidFill>
              </a:rPr>
              <a:t>   @Test </a:t>
            </a:r>
          </a:p>
          <a:p>
            <a:pPr fontAlgn="t"/>
            <a:r>
              <a:rPr lang="en-IN" i="1" dirty="0" smtClean="0">
                <a:solidFill>
                  <a:srgbClr val="123761"/>
                </a:solidFill>
              </a:rPr>
              <a:t>  @Parameters({ "</a:t>
            </a:r>
            <a:r>
              <a:rPr lang="en-IN" i="1" dirty="0" err="1" smtClean="0">
                <a:solidFill>
                  <a:srgbClr val="123761"/>
                </a:solidFill>
              </a:rPr>
              <a:t>sUsername</a:t>
            </a:r>
            <a:r>
              <a:rPr lang="en-IN" i="1" dirty="0" smtClean="0">
                <a:solidFill>
                  <a:srgbClr val="123761"/>
                </a:solidFill>
              </a:rPr>
              <a:t>", "</a:t>
            </a:r>
            <a:r>
              <a:rPr lang="en-IN" i="1" dirty="0" err="1" smtClean="0">
                <a:solidFill>
                  <a:srgbClr val="123761"/>
                </a:solidFill>
              </a:rPr>
              <a:t>sPassword</a:t>
            </a:r>
            <a:r>
              <a:rPr lang="en-IN" i="1" dirty="0" smtClean="0">
                <a:solidFill>
                  <a:srgbClr val="123761"/>
                </a:solidFill>
              </a:rPr>
              <a:t>" })</a:t>
            </a:r>
          </a:p>
          <a:p>
            <a:pPr fontAlgn="t"/>
            <a:endParaRPr lang="en-IN" i="1" dirty="0" smtClean="0">
              <a:solidFill>
                <a:srgbClr val="123761"/>
              </a:solidFill>
            </a:endParaRPr>
          </a:p>
          <a:p>
            <a:pPr fontAlgn="t"/>
            <a:r>
              <a:rPr lang="en-IN" i="1" dirty="0" smtClean="0">
                <a:solidFill>
                  <a:srgbClr val="123761"/>
                </a:solidFill>
              </a:rPr>
              <a:t>   </a:t>
            </a:r>
            <a:r>
              <a:rPr lang="en-IN" b="1" i="1" dirty="0" smtClean="0">
                <a:solidFill>
                  <a:srgbClr val="123761"/>
                </a:solidFill>
              </a:rPr>
              <a:t>public</a:t>
            </a:r>
            <a:r>
              <a:rPr lang="en-IN" i="1" dirty="0" smtClean="0">
                <a:solidFill>
                  <a:srgbClr val="123761"/>
                </a:solidFill>
              </a:rPr>
              <a:t> </a:t>
            </a:r>
            <a:r>
              <a:rPr lang="en-IN" b="1" i="1" dirty="0" smtClean="0">
                <a:solidFill>
                  <a:srgbClr val="123761"/>
                </a:solidFill>
              </a:rPr>
              <a:t>void</a:t>
            </a:r>
            <a:r>
              <a:rPr lang="en-IN" i="1" dirty="0" smtClean="0">
                <a:solidFill>
                  <a:srgbClr val="123761"/>
                </a:solidFill>
              </a:rPr>
              <a:t> test(</a:t>
            </a:r>
            <a:r>
              <a:rPr lang="en-IN" b="1" i="1" dirty="0" smtClean="0">
                <a:solidFill>
                  <a:srgbClr val="123761"/>
                </a:solidFill>
              </a:rPr>
              <a:t>String</a:t>
            </a:r>
            <a:r>
              <a:rPr lang="en-IN" i="1" dirty="0" smtClean="0">
                <a:solidFill>
                  <a:srgbClr val="123761"/>
                </a:solidFill>
              </a:rPr>
              <a:t> </a:t>
            </a:r>
            <a:r>
              <a:rPr lang="en-IN" i="1" dirty="0" err="1" smtClean="0">
                <a:solidFill>
                  <a:srgbClr val="123761"/>
                </a:solidFill>
              </a:rPr>
              <a:t>sUsername</a:t>
            </a:r>
            <a:r>
              <a:rPr lang="en-IN" i="1" dirty="0" smtClean="0">
                <a:solidFill>
                  <a:srgbClr val="123761"/>
                </a:solidFill>
              </a:rPr>
              <a:t>, </a:t>
            </a:r>
            <a:r>
              <a:rPr lang="en-IN" b="1" i="1" dirty="0" smtClean="0">
                <a:solidFill>
                  <a:srgbClr val="123761"/>
                </a:solidFill>
              </a:rPr>
              <a:t>String</a:t>
            </a:r>
            <a:r>
              <a:rPr lang="en-IN" i="1" dirty="0" smtClean="0">
                <a:solidFill>
                  <a:srgbClr val="123761"/>
                </a:solidFill>
              </a:rPr>
              <a:t> </a:t>
            </a:r>
            <a:r>
              <a:rPr lang="en-IN" i="1" dirty="0" err="1" smtClean="0">
                <a:solidFill>
                  <a:srgbClr val="123761"/>
                </a:solidFill>
              </a:rPr>
              <a:t>sPassword</a:t>
            </a:r>
            <a:r>
              <a:rPr lang="en-IN" i="1" dirty="0" smtClean="0">
                <a:solidFill>
                  <a:srgbClr val="123761"/>
                </a:solidFill>
              </a:rPr>
              <a:t>) {</a:t>
            </a:r>
          </a:p>
          <a:p>
            <a:pPr fontAlgn="t"/>
            <a:endParaRPr lang="en-IN" i="1" dirty="0" smtClean="0">
              <a:solidFill>
                <a:srgbClr val="123761"/>
              </a:solidFill>
            </a:endParaRPr>
          </a:p>
          <a:p>
            <a:pPr fontAlgn="t"/>
            <a:r>
              <a:rPr lang="en-IN" i="1" dirty="0" smtClean="0">
                <a:solidFill>
                  <a:srgbClr val="123761"/>
                </a:solidFill>
              </a:rPr>
              <a:t>       driver = </a:t>
            </a:r>
            <a:r>
              <a:rPr lang="en-IN" b="1" i="1" dirty="0" smtClean="0">
                <a:solidFill>
                  <a:srgbClr val="123761"/>
                </a:solidFill>
              </a:rPr>
              <a:t>new</a:t>
            </a:r>
            <a:r>
              <a:rPr lang="en-IN" i="1" dirty="0" smtClean="0">
                <a:solidFill>
                  <a:srgbClr val="123761"/>
                </a:solidFill>
              </a:rPr>
              <a:t> </a:t>
            </a:r>
            <a:r>
              <a:rPr lang="en-IN" i="1" dirty="0" err="1" smtClean="0">
                <a:solidFill>
                  <a:srgbClr val="123761"/>
                </a:solidFill>
              </a:rPr>
              <a:t>FirefoxDriver</a:t>
            </a:r>
            <a:r>
              <a:rPr lang="en-IN" i="1" dirty="0" smtClean="0">
                <a:solidFill>
                  <a:srgbClr val="123761"/>
                </a:solidFill>
              </a:rPr>
              <a:t>();</a:t>
            </a:r>
          </a:p>
          <a:p>
            <a:pPr fontAlgn="t"/>
            <a:r>
              <a:rPr lang="en-IN" i="1" dirty="0" smtClean="0">
                <a:solidFill>
                  <a:srgbClr val="123761"/>
                </a:solidFill>
              </a:rPr>
              <a:t>       </a:t>
            </a:r>
            <a:r>
              <a:rPr lang="en-IN" i="1" dirty="0" err="1" smtClean="0">
                <a:solidFill>
                  <a:srgbClr val="123761"/>
                </a:solidFill>
              </a:rPr>
              <a:t>driver.findElement</a:t>
            </a:r>
            <a:r>
              <a:rPr lang="en-IN" i="1" dirty="0" smtClean="0">
                <a:solidFill>
                  <a:srgbClr val="123761"/>
                </a:solidFill>
              </a:rPr>
              <a:t>(By.id("log")).</a:t>
            </a:r>
            <a:r>
              <a:rPr lang="en-IN" i="1" dirty="0" err="1" smtClean="0">
                <a:solidFill>
                  <a:srgbClr val="123761"/>
                </a:solidFill>
              </a:rPr>
              <a:t>sendKeys</a:t>
            </a:r>
            <a:r>
              <a:rPr lang="en-IN" i="1" dirty="0" smtClean="0">
                <a:solidFill>
                  <a:srgbClr val="123761"/>
                </a:solidFill>
              </a:rPr>
              <a:t>(</a:t>
            </a:r>
            <a:r>
              <a:rPr lang="en-IN" i="1" dirty="0" err="1" smtClean="0">
                <a:solidFill>
                  <a:srgbClr val="123761"/>
                </a:solidFill>
              </a:rPr>
              <a:t>sUsername</a:t>
            </a:r>
            <a:r>
              <a:rPr lang="en-IN" i="1" dirty="0" smtClean="0">
                <a:solidFill>
                  <a:srgbClr val="123761"/>
                </a:solidFill>
              </a:rPr>
              <a:t>);</a:t>
            </a:r>
          </a:p>
          <a:p>
            <a:pPr fontAlgn="t"/>
            <a:r>
              <a:rPr lang="en-IN" i="1" dirty="0" smtClean="0">
                <a:solidFill>
                  <a:srgbClr val="123761"/>
                </a:solidFill>
              </a:rPr>
              <a:t>       </a:t>
            </a:r>
            <a:r>
              <a:rPr lang="en-IN" i="1" dirty="0" err="1" smtClean="0">
                <a:solidFill>
                  <a:srgbClr val="123761"/>
                </a:solidFill>
              </a:rPr>
              <a:t>driver.findElement</a:t>
            </a:r>
            <a:r>
              <a:rPr lang="en-IN" i="1" dirty="0" smtClean="0">
                <a:solidFill>
                  <a:srgbClr val="123761"/>
                </a:solidFill>
              </a:rPr>
              <a:t>(By.id("</a:t>
            </a:r>
            <a:r>
              <a:rPr lang="en-IN" i="1" dirty="0" err="1" smtClean="0">
                <a:solidFill>
                  <a:srgbClr val="123761"/>
                </a:solidFill>
              </a:rPr>
              <a:t>pwd</a:t>
            </a:r>
            <a:r>
              <a:rPr lang="en-IN" i="1" dirty="0" smtClean="0">
                <a:solidFill>
                  <a:srgbClr val="123761"/>
                </a:solidFill>
              </a:rPr>
              <a:t>")).</a:t>
            </a:r>
            <a:r>
              <a:rPr lang="en-IN" i="1" dirty="0" err="1" smtClean="0">
                <a:solidFill>
                  <a:srgbClr val="123761"/>
                </a:solidFill>
              </a:rPr>
              <a:t>sendKeys</a:t>
            </a:r>
            <a:r>
              <a:rPr lang="en-IN" i="1" dirty="0" smtClean="0">
                <a:solidFill>
                  <a:srgbClr val="123761"/>
                </a:solidFill>
              </a:rPr>
              <a:t>(</a:t>
            </a:r>
            <a:r>
              <a:rPr lang="en-IN" i="1" dirty="0" err="1" smtClean="0">
                <a:solidFill>
                  <a:srgbClr val="123761"/>
                </a:solidFill>
              </a:rPr>
              <a:t>sPassword</a:t>
            </a:r>
            <a:r>
              <a:rPr lang="en-IN" i="1" dirty="0" smtClean="0">
                <a:solidFill>
                  <a:srgbClr val="123761"/>
                </a:solidFill>
              </a:rPr>
              <a:t>);</a:t>
            </a:r>
          </a:p>
          <a:p>
            <a:pPr fontAlgn="t"/>
            <a:r>
              <a:rPr lang="en-IN" i="1" dirty="0" smtClean="0">
                <a:solidFill>
                  <a:srgbClr val="123761"/>
                </a:solidFill>
              </a:rPr>
              <a:t>       </a:t>
            </a:r>
            <a:r>
              <a:rPr lang="en-IN" i="1" dirty="0" err="1" smtClean="0">
                <a:solidFill>
                  <a:srgbClr val="123761"/>
                </a:solidFill>
              </a:rPr>
              <a:t>driver.findElement</a:t>
            </a:r>
            <a:r>
              <a:rPr lang="en-IN" i="1" dirty="0" smtClean="0">
                <a:solidFill>
                  <a:srgbClr val="123761"/>
                </a:solidFill>
              </a:rPr>
              <a:t>(By.id("login")).click();</a:t>
            </a:r>
          </a:p>
          <a:p>
            <a:pPr fontAlgn="t"/>
            <a:r>
              <a:rPr lang="en-IN" i="1" dirty="0" smtClean="0">
                <a:solidFill>
                  <a:srgbClr val="123761"/>
                </a:solidFill>
              </a:rPr>
              <a:t>       </a:t>
            </a:r>
            <a:r>
              <a:rPr lang="en-IN" i="1" dirty="0" err="1" smtClean="0">
                <a:solidFill>
                  <a:srgbClr val="123761"/>
                </a:solidFill>
              </a:rPr>
              <a:t>driver.findElement</a:t>
            </a:r>
            <a:r>
              <a:rPr lang="en-IN" i="1" dirty="0" smtClean="0">
                <a:solidFill>
                  <a:srgbClr val="123761"/>
                </a:solidFill>
              </a:rPr>
              <a:t>(</a:t>
            </a:r>
            <a:r>
              <a:rPr lang="en-IN" i="1" dirty="0" err="1" smtClean="0">
                <a:solidFill>
                  <a:srgbClr val="123761"/>
                </a:solidFill>
              </a:rPr>
              <a:t>By.xpath</a:t>
            </a:r>
            <a:r>
              <a:rPr lang="en-IN" i="1" dirty="0" smtClean="0">
                <a:solidFill>
                  <a:srgbClr val="123761"/>
                </a:solidFill>
              </a:rPr>
              <a:t>(".//*[@id='</a:t>
            </a:r>
            <a:r>
              <a:rPr lang="en-IN" i="1" dirty="0" err="1" smtClean="0">
                <a:solidFill>
                  <a:srgbClr val="123761"/>
                </a:solidFill>
              </a:rPr>
              <a:t>account_logout</a:t>
            </a:r>
            <a:r>
              <a:rPr lang="en-IN" i="1" dirty="0" smtClean="0">
                <a:solidFill>
                  <a:srgbClr val="123761"/>
                </a:solidFill>
              </a:rPr>
              <a:t>']/a")).click();</a:t>
            </a:r>
          </a:p>
          <a:p>
            <a:pPr fontAlgn="t"/>
            <a:r>
              <a:rPr lang="en-IN" i="1" dirty="0" smtClean="0">
                <a:solidFill>
                  <a:srgbClr val="123761"/>
                </a:solidFill>
              </a:rPr>
              <a:t>       </a:t>
            </a:r>
            <a:r>
              <a:rPr lang="en-IN" i="1" dirty="0" err="1" smtClean="0">
                <a:solidFill>
                  <a:srgbClr val="123761"/>
                </a:solidFill>
              </a:rPr>
              <a:t>driver.quit</a:t>
            </a:r>
            <a:r>
              <a:rPr lang="en-IN" i="1" dirty="0" smtClean="0">
                <a:solidFill>
                  <a:srgbClr val="123761"/>
                </a:solidFill>
              </a:rPr>
              <a:t>(); </a:t>
            </a:r>
          </a:p>
          <a:p>
            <a:pPr fontAlgn="t"/>
            <a:r>
              <a:rPr lang="en-IN" i="1" dirty="0" smtClean="0">
                <a:solidFill>
                  <a:srgbClr val="123761"/>
                </a:solidFill>
              </a:rPr>
              <a:t>}}</a:t>
            </a:r>
          </a:p>
          <a:p>
            <a:pPr>
              <a:buFontTx/>
              <a:buChar char="-"/>
            </a:pPr>
            <a:endParaRPr lang="en-IN" i="1" dirty="0" smtClean="0">
              <a:solidFill>
                <a:srgbClr val="00B050"/>
              </a:solidFill>
            </a:endParaRPr>
          </a:p>
          <a:p>
            <a:endParaRPr lang="en-IN" b="1" dirty="0"/>
          </a:p>
        </p:txBody>
      </p:sp>
    </p:spTree>
    <p:extLst>
      <p:ext uri="{BB962C8B-B14F-4D97-AF65-F5344CB8AC3E}">
        <p14:creationId xmlns:p14="http://schemas.microsoft.com/office/powerpoint/2010/main" val="350369989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19724" y="147399"/>
            <a:ext cx="6014441" cy="430887"/>
          </a:xfrm>
        </p:spPr>
        <p:txBody>
          <a:bodyPr/>
          <a:lstStyle/>
          <a:p>
            <a:r>
              <a:rPr lang="en-IN" dirty="0" smtClean="0"/>
              <a:t>TestNG parameter and Data-Provider</a:t>
            </a:r>
            <a:endParaRPr lang="en-IN" dirty="0"/>
          </a:p>
        </p:txBody>
      </p:sp>
      <p:sp>
        <p:nvSpPr>
          <p:cNvPr id="7" name="TextBox 6"/>
          <p:cNvSpPr txBox="1"/>
          <p:nvPr/>
        </p:nvSpPr>
        <p:spPr>
          <a:xfrm>
            <a:off x="1457325" y="1457325"/>
            <a:ext cx="6543675"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2628900" y="4152900"/>
            <a:ext cx="4943475" cy="369332"/>
          </a:xfrm>
          <a:prstGeom prst="rect">
            <a:avLst/>
          </a:prstGeom>
        </p:spPr>
        <p:txBody>
          <a:bodyPr wrap="square">
            <a:spAutoFit/>
          </a:bodyPr>
          <a:lstStyle/>
          <a:p>
            <a:r>
              <a:rPr lang="en-IN" i="1" dirty="0" smtClean="0"/>
              <a:t>.</a:t>
            </a:r>
            <a:endParaRPr lang="en-IN" i="1" dirty="0"/>
          </a:p>
        </p:txBody>
      </p:sp>
      <p:sp>
        <p:nvSpPr>
          <p:cNvPr id="12" name="Rectangle 11"/>
          <p:cNvSpPr/>
          <p:nvPr/>
        </p:nvSpPr>
        <p:spPr>
          <a:xfrm>
            <a:off x="1344015" y="671691"/>
            <a:ext cx="5600700" cy="6186309"/>
          </a:xfrm>
          <a:prstGeom prst="rect">
            <a:avLst/>
          </a:prstGeom>
        </p:spPr>
        <p:txBody>
          <a:bodyPr wrap="square">
            <a:spAutoFit/>
          </a:bodyPr>
          <a:lstStyle/>
          <a:p>
            <a:pPr>
              <a:buFontTx/>
              <a:buChar char="-"/>
            </a:pPr>
            <a:r>
              <a:rPr lang="en-IN" i="1" dirty="0" smtClean="0">
                <a:solidFill>
                  <a:srgbClr val="00B050"/>
                </a:solidFill>
              </a:rPr>
              <a:t>TestNG XML:</a:t>
            </a:r>
          </a:p>
          <a:p>
            <a:pPr>
              <a:buFontTx/>
              <a:buChar char="-"/>
            </a:pPr>
            <a:endParaRPr lang="en-IN" i="1" dirty="0" smtClean="0">
              <a:solidFill>
                <a:srgbClr val="00B050"/>
              </a:solidFill>
            </a:endParaRPr>
          </a:p>
          <a:p>
            <a:r>
              <a:rPr lang="en-IN" i="1" dirty="0" smtClean="0">
                <a:solidFill>
                  <a:srgbClr val="123761"/>
                </a:solidFill>
              </a:rPr>
              <a:t>&lt;suite name="Suite"&gt;</a:t>
            </a:r>
          </a:p>
          <a:p>
            <a:r>
              <a:rPr lang="en-IN" i="1" dirty="0" smtClean="0">
                <a:solidFill>
                  <a:srgbClr val="123761"/>
                </a:solidFill>
              </a:rPr>
              <a:t> </a:t>
            </a:r>
          </a:p>
          <a:p>
            <a:r>
              <a:rPr lang="en-IN" i="1" dirty="0" smtClean="0">
                <a:solidFill>
                  <a:srgbClr val="123761"/>
                </a:solidFill>
              </a:rPr>
              <a:t>    &lt;test name="</a:t>
            </a:r>
            <a:r>
              <a:rPr lang="en-IN" i="1" dirty="0" err="1" smtClean="0">
                <a:solidFill>
                  <a:srgbClr val="123761"/>
                </a:solidFill>
              </a:rPr>
              <a:t>ToolsQA</a:t>
            </a:r>
            <a:r>
              <a:rPr lang="en-IN" i="1" dirty="0" smtClean="0">
                <a:solidFill>
                  <a:srgbClr val="123761"/>
                </a:solidFill>
              </a:rPr>
              <a:t>"&gt;</a:t>
            </a:r>
          </a:p>
          <a:p>
            <a:r>
              <a:rPr lang="en-IN" i="1" dirty="0" smtClean="0">
                <a:solidFill>
                  <a:srgbClr val="123761"/>
                </a:solidFill>
              </a:rPr>
              <a:t> </a:t>
            </a:r>
          </a:p>
          <a:p>
            <a:r>
              <a:rPr lang="en-IN" i="1" dirty="0" smtClean="0">
                <a:solidFill>
                  <a:srgbClr val="123761"/>
                </a:solidFill>
              </a:rPr>
              <a:t>&lt;parameter name="</a:t>
            </a:r>
            <a:r>
              <a:rPr lang="en-IN" i="1" dirty="0" err="1" smtClean="0">
                <a:solidFill>
                  <a:srgbClr val="123761"/>
                </a:solidFill>
              </a:rPr>
              <a:t>sUsername</a:t>
            </a:r>
            <a:r>
              <a:rPr lang="en-IN" i="1" dirty="0" smtClean="0">
                <a:solidFill>
                  <a:srgbClr val="123761"/>
                </a:solidFill>
              </a:rPr>
              <a:t>" value="testuser_1"/&gt;</a:t>
            </a:r>
          </a:p>
          <a:p>
            <a:r>
              <a:rPr lang="en-IN" i="1" dirty="0" smtClean="0">
                <a:solidFill>
                  <a:srgbClr val="123761"/>
                </a:solidFill>
              </a:rPr>
              <a:t> </a:t>
            </a:r>
          </a:p>
          <a:p>
            <a:r>
              <a:rPr lang="en-IN" i="1" dirty="0" smtClean="0">
                <a:solidFill>
                  <a:srgbClr val="123761"/>
                </a:solidFill>
              </a:rPr>
              <a:t>&lt;parameter name="</a:t>
            </a:r>
            <a:r>
              <a:rPr lang="en-IN" i="1" dirty="0" err="1" smtClean="0">
                <a:solidFill>
                  <a:srgbClr val="123761"/>
                </a:solidFill>
              </a:rPr>
              <a:t>sPassword</a:t>
            </a:r>
            <a:r>
              <a:rPr lang="en-IN" i="1" dirty="0" smtClean="0">
                <a:solidFill>
                  <a:srgbClr val="123761"/>
                </a:solidFill>
              </a:rPr>
              <a:t>" value="Test@123"/&gt;</a:t>
            </a:r>
          </a:p>
          <a:p>
            <a:r>
              <a:rPr lang="en-IN" i="1" dirty="0" smtClean="0">
                <a:solidFill>
                  <a:srgbClr val="123761"/>
                </a:solidFill>
              </a:rPr>
              <a:t> </a:t>
            </a:r>
          </a:p>
          <a:p>
            <a:r>
              <a:rPr lang="en-IN" i="1" dirty="0" smtClean="0">
                <a:solidFill>
                  <a:srgbClr val="123761"/>
                </a:solidFill>
              </a:rPr>
              <a:t>&lt;classes&gt;</a:t>
            </a:r>
          </a:p>
          <a:p>
            <a:r>
              <a:rPr lang="en-IN" i="1" dirty="0" smtClean="0">
                <a:solidFill>
                  <a:srgbClr val="123761"/>
                </a:solidFill>
              </a:rPr>
              <a:t> </a:t>
            </a:r>
          </a:p>
          <a:p>
            <a:r>
              <a:rPr lang="en-IN" i="1" dirty="0" smtClean="0">
                <a:solidFill>
                  <a:srgbClr val="123761"/>
                </a:solidFill>
              </a:rPr>
              <a:t>    &lt;class name="</a:t>
            </a:r>
            <a:r>
              <a:rPr lang="en-IN" i="1" dirty="0" err="1" smtClean="0">
                <a:solidFill>
                  <a:srgbClr val="123761"/>
                </a:solidFill>
              </a:rPr>
              <a:t>automationFramework.TestngParameters</a:t>
            </a:r>
            <a:r>
              <a:rPr lang="en-IN" i="1" dirty="0" smtClean="0">
                <a:solidFill>
                  <a:srgbClr val="123761"/>
                </a:solidFill>
              </a:rPr>
              <a:t>" /&gt;</a:t>
            </a:r>
          </a:p>
          <a:p>
            <a:r>
              <a:rPr lang="en-IN" i="1" dirty="0" smtClean="0">
                <a:solidFill>
                  <a:srgbClr val="123761"/>
                </a:solidFill>
              </a:rPr>
              <a:t> </a:t>
            </a:r>
          </a:p>
          <a:p>
            <a:r>
              <a:rPr lang="en-IN" i="1" dirty="0" smtClean="0">
                <a:solidFill>
                  <a:srgbClr val="123761"/>
                </a:solidFill>
              </a:rPr>
              <a:t>&lt;/classes&gt;</a:t>
            </a:r>
          </a:p>
          <a:p>
            <a:r>
              <a:rPr lang="en-IN" i="1" dirty="0" smtClean="0">
                <a:solidFill>
                  <a:srgbClr val="123761"/>
                </a:solidFill>
              </a:rPr>
              <a:t> </a:t>
            </a:r>
          </a:p>
          <a:p>
            <a:r>
              <a:rPr lang="en-IN" i="1" dirty="0" smtClean="0">
                <a:solidFill>
                  <a:srgbClr val="123761"/>
                </a:solidFill>
              </a:rPr>
              <a:t>    &lt;/test&gt;</a:t>
            </a:r>
          </a:p>
          <a:p>
            <a:r>
              <a:rPr lang="en-IN" i="1" dirty="0" smtClean="0">
                <a:solidFill>
                  <a:srgbClr val="123761"/>
                </a:solidFill>
              </a:rPr>
              <a:t> </a:t>
            </a:r>
          </a:p>
          <a:p>
            <a:r>
              <a:rPr lang="en-IN" i="1" dirty="0" smtClean="0">
                <a:solidFill>
                  <a:srgbClr val="123761"/>
                </a:solidFill>
              </a:rPr>
              <a:t>&lt;/suite&gt;</a:t>
            </a:r>
          </a:p>
          <a:p>
            <a:pPr>
              <a:buFontTx/>
              <a:buChar char="-"/>
            </a:pPr>
            <a:endParaRPr lang="en-IN" i="1" dirty="0" smtClean="0">
              <a:solidFill>
                <a:srgbClr val="00B050"/>
              </a:solidFill>
            </a:endParaRPr>
          </a:p>
          <a:p>
            <a:endParaRPr lang="en-IN" b="1" dirty="0"/>
          </a:p>
        </p:txBody>
      </p:sp>
    </p:spTree>
    <p:extLst>
      <p:ext uri="{BB962C8B-B14F-4D97-AF65-F5344CB8AC3E}">
        <p14:creationId xmlns:p14="http://schemas.microsoft.com/office/powerpoint/2010/main" val="248037077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3954" y="147398"/>
            <a:ext cx="6014441" cy="430887"/>
          </a:xfrm>
        </p:spPr>
        <p:txBody>
          <a:bodyPr/>
          <a:lstStyle/>
          <a:p>
            <a:r>
              <a:rPr lang="en-IN" dirty="0" smtClean="0"/>
              <a:t>TestNG parameter and Data-Provider</a:t>
            </a:r>
            <a:endParaRPr lang="en-IN" dirty="0"/>
          </a:p>
        </p:txBody>
      </p:sp>
      <p:sp>
        <p:nvSpPr>
          <p:cNvPr id="7" name="TextBox 6"/>
          <p:cNvSpPr txBox="1"/>
          <p:nvPr/>
        </p:nvSpPr>
        <p:spPr>
          <a:xfrm>
            <a:off x="1457325" y="1457325"/>
            <a:ext cx="6543675"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2628900" y="4152900"/>
            <a:ext cx="4943475" cy="369332"/>
          </a:xfrm>
          <a:prstGeom prst="rect">
            <a:avLst/>
          </a:prstGeom>
        </p:spPr>
        <p:txBody>
          <a:bodyPr wrap="square">
            <a:spAutoFit/>
          </a:bodyPr>
          <a:lstStyle/>
          <a:p>
            <a:r>
              <a:rPr lang="en-IN" i="1" dirty="0" smtClean="0"/>
              <a:t>.</a:t>
            </a:r>
            <a:endParaRPr lang="en-IN" i="1" dirty="0"/>
          </a:p>
        </p:txBody>
      </p:sp>
      <p:sp>
        <p:nvSpPr>
          <p:cNvPr id="12" name="Rectangle 11"/>
          <p:cNvSpPr/>
          <p:nvPr/>
        </p:nvSpPr>
        <p:spPr>
          <a:xfrm>
            <a:off x="973954" y="671691"/>
            <a:ext cx="6982118" cy="6186309"/>
          </a:xfrm>
          <a:prstGeom prst="rect">
            <a:avLst/>
          </a:prstGeom>
        </p:spPr>
        <p:txBody>
          <a:bodyPr wrap="square">
            <a:spAutoFit/>
          </a:bodyPr>
          <a:lstStyle/>
          <a:p>
            <a:pPr>
              <a:buFontTx/>
              <a:buChar char="-"/>
            </a:pPr>
            <a:r>
              <a:rPr lang="en-IN" i="1" dirty="0" smtClean="0">
                <a:solidFill>
                  <a:srgbClr val="B42359"/>
                </a:solidFill>
              </a:rPr>
              <a:t>Data provider is of the most efficient way to make your script </a:t>
            </a:r>
            <a:r>
              <a:rPr lang="en-IN" i="1" dirty="0" err="1" smtClean="0">
                <a:solidFill>
                  <a:srgbClr val="B42359"/>
                </a:solidFill>
              </a:rPr>
              <a:t>datadriven</a:t>
            </a:r>
            <a:r>
              <a:rPr lang="en-IN" i="1" dirty="0" smtClean="0">
                <a:solidFill>
                  <a:srgbClr val="B42359"/>
                </a:solidFill>
              </a:rPr>
              <a:t> by provide the datasets. Data provider is an TestNG annotation which facilitate automation tester to define the data in the method or extract data from external files such as Excel sheet</a:t>
            </a:r>
            <a:r>
              <a:rPr lang="en-IN" dirty="0" smtClean="0"/>
              <a:t>.</a:t>
            </a:r>
          </a:p>
          <a:p>
            <a:pPr>
              <a:buFontTx/>
              <a:buChar char="-"/>
            </a:pPr>
            <a:endParaRPr lang="en-IN" b="1" dirty="0" smtClean="0"/>
          </a:p>
          <a:p>
            <a:r>
              <a:rPr lang="en-IN" i="1" dirty="0" smtClean="0">
                <a:solidFill>
                  <a:srgbClr val="123761"/>
                </a:solidFill>
              </a:rPr>
              <a:t>//sample code</a:t>
            </a:r>
          </a:p>
          <a:p>
            <a:r>
              <a:rPr lang="en-IN" i="1" dirty="0" smtClean="0">
                <a:solidFill>
                  <a:srgbClr val="123761"/>
                </a:solidFill>
              </a:rPr>
              <a:t>import </a:t>
            </a:r>
            <a:r>
              <a:rPr lang="en-IN" i="1" dirty="0" err="1" smtClean="0">
                <a:solidFill>
                  <a:srgbClr val="123761"/>
                </a:solidFill>
              </a:rPr>
              <a:t>org.testng.annotations.Test</a:t>
            </a:r>
            <a:r>
              <a:rPr lang="en-IN" i="1" dirty="0" smtClean="0">
                <a:solidFill>
                  <a:srgbClr val="123761"/>
                </a:solidFill>
              </a:rPr>
              <a:t>; import </a:t>
            </a:r>
            <a:r>
              <a:rPr lang="en-IN" i="1" dirty="0" err="1" smtClean="0">
                <a:solidFill>
                  <a:srgbClr val="123761"/>
                </a:solidFill>
              </a:rPr>
              <a:t>org.testng.annotations.BeforeMethod</a:t>
            </a:r>
            <a:r>
              <a:rPr lang="en-IN" i="1" dirty="0" smtClean="0">
                <a:solidFill>
                  <a:srgbClr val="123761"/>
                </a:solidFill>
              </a:rPr>
              <a:t>; import </a:t>
            </a:r>
            <a:r>
              <a:rPr lang="en-IN" i="1" dirty="0" err="1" smtClean="0">
                <a:solidFill>
                  <a:srgbClr val="123761"/>
                </a:solidFill>
              </a:rPr>
              <a:t>org.testng.annotations.DataProvider</a:t>
            </a:r>
            <a:r>
              <a:rPr lang="en-IN" i="1" dirty="0" smtClean="0">
                <a:solidFill>
                  <a:srgbClr val="123761"/>
                </a:solidFill>
              </a:rPr>
              <a:t>;</a:t>
            </a:r>
          </a:p>
          <a:p>
            <a:endParaRPr lang="en-IN" i="1" dirty="0" smtClean="0">
              <a:solidFill>
                <a:srgbClr val="123761"/>
              </a:solidFill>
            </a:endParaRPr>
          </a:p>
          <a:p>
            <a:r>
              <a:rPr lang="en-IN" i="1" dirty="0" smtClean="0">
                <a:solidFill>
                  <a:srgbClr val="123761"/>
                </a:solidFill>
              </a:rPr>
              <a:t>public class </a:t>
            </a:r>
            <a:r>
              <a:rPr lang="en-IN" i="1" dirty="0" err="1" smtClean="0">
                <a:solidFill>
                  <a:srgbClr val="123761"/>
                </a:solidFill>
              </a:rPr>
              <a:t>Dataprovider</a:t>
            </a:r>
            <a:r>
              <a:rPr lang="en-IN" i="1" dirty="0" smtClean="0">
                <a:solidFill>
                  <a:srgbClr val="123761"/>
                </a:solidFill>
              </a:rPr>
              <a:t> {</a:t>
            </a:r>
          </a:p>
          <a:p>
            <a:r>
              <a:rPr lang="en-IN" i="1" dirty="0" smtClean="0">
                <a:solidFill>
                  <a:srgbClr val="123761"/>
                </a:solidFill>
              </a:rPr>
              <a:t> @Test(</a:t>
            </a:r>
            <a:r>
              <a:rPr lang="en-IN" i="1" dirty="0" err="1" smtClean="0">
                <a:solidFill>
                  <a:srgbClr val="123761"/>
                </a:solidFill>
              </a:rPr>
              <a:t>dataProvider</a:t>
            </a:r>
            <a:r>
              <a:rPr lang="en-IN" i="1" dirty="0" smtClean="0">
                <a:solidFill>
                  <a:srgbClr val="123761"/>
                </a:solidFill>
              </a:rPr>
              <a:t> = "</a:t>
            </a:r>
            <a:r>
              <a:rPr lang="en-IN" i="1" dirty="0" err="1" smtClean="0">
                <a:solidFill>
                  <a:srgbClr val="123761"/>
                </a:solidFill>
              </a:rPr>
              <a:t>dp</a:t>
            </a:r>
            <a:r>
              <a:rPr lang="en-IN" i="1" dirty="0" smtClean="0">
                <a:solidFill>
                  <a:srgbClr val="123761"/>
                </a:solidFill>
              </a:rPr>
              <a:t>")</a:t>
            </a:r>
          </a:p>
          <a:p>
            <a:r>
              <a:rPr lang="en-IN" i="1" dirty="0" smtClean="0">
                <a:solidFill>
                  <a:srgbClr val="123761"/>
                </a:solidFill>
              </a:rPr>
              <a:t> public void f(Integer n, String s) {</a:t>
            </a:r>
          </a:p>
          <a:p>
            <a:r>
              <a:rPr lang="en-IN" i="1" dirty="0" smtClean="0">
                <a:solidFill>
                  <a:srgbClr val="123761"/>
                </a:solidFill>
              </a:rPr>
              <a:t> </a:t>
            </a:r>
          </a:p>
          <a:p>
            <a:r>
              <a:rPr lang="en-IN" i="1" dirty="0" smtClean="0">
                <a:solidFill>
                  <a:srgbClr val="123761"/>
                </a:solidFill>
              </a:rPr>
              <a:t> </a:t>
            </a:r>
            <a:r>
              <a:rPr lang="en-IN" i="1" dirty="0" err="1" smtClean="0">
                <a:solidFill>
                  <a:srgbClr val="123761"/>
                </a:solidFill>
              </a:rPr>
              <a:t>System.out.println</a:t>
            </a:r>
            <a:r>
              <a:rPr lang="en-IN" i="1" dirty="0" smtClean="0">
                <a:solidFill>
                  <a:srgbClr val="123761"/>
                </a:solidFill>
              </a:rPr>
              <a:t>("In:"+ n +" and s "+ s );</a:t>
            </a:r>
          </a:p>
          <a:p>
            <a:r>
              <a:rPr lang="en-IN" i="1" dirty="0" smtClean="0">
                <a:solidFill>
                  <a:srgbClr val="123761"/>
                </a:solidFill>
              </a:rPr>
              <a:t> }</a:t>
            </a:r>
          </a:p>
          <a:p>
            <a:r>
              <a:rPr lang="en-IN" i="1" dirty="0" smtClean="0">
                <a:solidFill>
                  <a:srgbClr val="123761"/>
                </a:solidFill>
              </a:rPr>
              <a:t> @</a:t>
            </a:r>
            <a:r>
              <a:rPr lang="en-IN" i="1" dirty="0" err="1" smtClean="0">
                <a:solidFill>
                  <a:srgbClr val="123761"/>
                </a:solidFill>
              </a:rPr>
              <a:t>BeforeMethod</a:t>
            </a:r>
            <a:endParaRPr lang="en-IN" i="1" dirty="0" smtClean="0">
              <a:solidFill>
                <a:srgbClr val="123761"/>
              </a:solidFill>
            </a:endParaRPr>
          </a:p>
          <a:p>
            <a:r>
              <a:rPr lang="en-IN" i="1" dirty="0" smtClean="0">
                <a:solidFill>
                  <a:srgbClr val="123761"/>
                </a:solidFill>
              </a:rPr>
              <a:t> public void </a:t>
            </a:r>
            <a:r>
              <a:rPr lang="en-IN" i="1" dirty="0" err="1" smtClean="0">
                <a:solidFill>
                  <a:srgbClr val="123761"/>
                </a:solidFill>
              </a:rPr>
              <a:t>beforeMethod</a:t>
            </a:r>
            <a:r>
              <a:rPr lang="en-IN" i="1" dirty="0" smtClean="0">
                <a:solidFill>
                  <a:srgbClr val="123761"/>
                </a:solidFill>
              </a:rPr>
              <a:t>() {</a:t>
            </a:r>
          </a:p>
          <a:p>
            <a:r>
              <a:rPr lang="en-IN" i="1" dirty="0" smtClean="0">
                <a:solidFill>
                  <a:srgbClr val="123761"/>
                </a:solidFill>
              </a:rPr>
              <a:t> }</a:t>
            </a:r>
          </a:p>
          <a:p>
            <a:endParaRPr lang="en-IN" i="1" dirty="0" smtClean="0">
              <a:solidFill>
                <a:srgbClr val="00B050"/>
              </a:solidFill>
            </a:endParaRPr>
          </a:p>
          <a:p>
            <a:endParaRPr lang="en-IN" dirty="0" smtClean="0"/>
          </a:p>
          <a:p>
            <a:r>
              <a:rPr lang="en-IN" dirty="0" smtClean="0"/>
              <a:t>	</a:t>
            </a:r>
            <a:endParaRPr lang="en-IN" dirty="0"/>
          </a:p>
        </p:txBody>
      </p:sp>
    </p:spTree>
    <p:extLst>
      <p:ext uri="{BB962C8B-B14F-4D97-AF65-F5344CB8AC3E}">
        <p14:creationId xmlns:p14="http://schemas.microsoft.com/office/powerpoint/2010/main" val="227058290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0552" y="209757"/>
            <a:ext cx="6014441" cy="430887"/>
          </a:xfrm>
        </p:spPr>
        <p:txBody>
          <a:bodyPr/>
          <a:lstStyle/>
          <a:p>
            <a:r>
              <a:rPr lang="en-IN" dirty="0" smtClean="0"/>
              <a:t>TestNG parameter and Data-Provider</a:t>
            </a:r>
            <a:endParaRPr lang="en-IN" dirty="0"/>
          </a:p>
        </p:txBody>
      </p:sp>
      <p:sp>
        <p:nvSpPr>
          <p:cNvPr id="7" name="TextBox 6"/>
          <p:cNvSpPr txBox="1"/>
          <p:nvPr/>
        </p:nvSpPr>
        <p:spPr>
          <a:xfrm>
            <a:off x="1457325" y="1457325"/>
            <a:ext cx="6543675"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2628900" y="4152900"/>
            <a:ext cx="4943475" cy="369332"/>
          </a:xfrm>
          <a:prstGeom prst="rect">
            <a:avLst/>
          </a:prstGeom>
        </p:spPr>
        <p:txBody>
          <a:bodyPr wrap="square">
            <a:spAutoFit/>
          </a:bodyPr>
          <a:lstStyle/>
          <a:p>
            <a:r>
              <a:rPr lang="en-IN" i="1" dirty="0" smtClean="0"/>
              <a:t>.</a:t>
            </a:r>
            <a:endParaRPr lang="en-IN" i="1" dirty="0"/>
          </a:p>
        </p:txBody>
      </p:sp>
      <p:sp>
        <p:nvSpPr>
          <p:cNvPr id="12" name="Rectangle 11"/>
          <p:cNvSpPr/>
          <p:nvPr/>
        </p:nvSpPr>
        <p:spPr>
          <a:xfrm>
            <a:off x="1141659" y="883428"/>
            <a:ext cx="5600700" cy="4801314"/>
          </a:xfrm>
          <a:prstGeom prst="rect">
            <a:avLst/>
          </a:prstGeom>
        </p:spPr>
        <p:txBody>
          <a:bodyPr wrap="square">
            <a:spAutoFit/>
          </a:bodyPr>
          <a:lstStyle/>
          <a:p>
            <a:r>
              <a:rPr lang="en-IN" i="1" dirty="0" smtClean="0">
                <a:solidFill>
                  <a:srgbClr val="123761"/>
                </a:solidFill>
              </a:rPr>
              <a:t>@DataProvider public Object[][] </a:t>
            </a:r>
            <a:r>
              <a:rPr lang="en-IN" i="1" dirty="0" err="1" smtClean="0">
                <a:solidFill>
                  <a:srgbClr val="123761"/>
                </a:solidFill>
              </a:rPr>
              <a:t>dp</a:t>
            </a:r>
            <a:r>
              <a:rPr lang="en-IN" i="1" dirty="0" smtClean="0">
                <a:solidFill>
                  <a:srgbClr val="123761"/>
                </a:solidFill>
              </a:rPr>
              <a:t>()</a:t>
            </a:r>
          </a:p>
          <a:p>
            <a:r>
              <a:rPr lang="en-IN" i="1" dirty="0" smtClean="0">
                <a:solidFill>
                  <a:srgbClr val="123761"/>
                </a:solidFill>
              </a:rPr>
              <a:t> { </a:t>
            </a:r>
          </a:p>
          <a:p>
            <a:r>
              <a:rPr lang="en-IN" i="1" dirty="0" smtClean="0">
                <a:solidFill>
                  <a:srgbClr val="123761"/>
                </a:solidFill>
              </a:rPr>
              <a:t>return new Object[][] </a:t>
            </a:r>
          </a:p>
          <a:p>
            <a:r>
              <a:rPr lang="en-IN" i="1" dirty="0" smtClean="0">
                <a:solidFill>
                  <a:srgbClr val="123761"/>
                </a:solidFill>
              </a:rPr>
              <a:t>{ new Object[] { 1, "a" }, </a:t>
            </a:r>
          </a:p>
          <a:p>
            <a:r>
              <a:rPr lang="en-IN" i="1" dirty="0" smtClean="0">
                <a:solidFill>
                  <a:srgbClr val="123761"/>
                </a:solidFill>
              </a:rPr>
              <a:t>new Object[] { 2, "b" }, };</a:t>
            </a:r>
          </a:p>
          <a:p>
            <a:r>
              <a:rPr lang="en-IN" i="1" dirty="0" smtClean="0">
                <a:solidFill>
                  <a:srgbClr val="123761"/>
                </a:solidFill>
              </a:rPr>
              <a:t> } </a:t>
            </a:r>
          </a:p>
          <a:p>
            <a:r>
              <a:rPr lang="en-IN" i="1" dirty="0" smtClean="0">
                <a:solidFill>
                  <a:srgbClr val="123761"/>
                </a:solidFill>
              </a:rPr>
              <a:t>}</a:t>
            </a:r>
          </a:p>
          <a:p>
            <a:r>
              <a:rPr lang="en-IN" i="1" dirty="0" smtClean="0">
                <a:solidFill>
                  <a:srgbClr val="123761"/>
                </a:solidFill>
              </a:rPr>
              <a:t>}</a:t>
            </a:r>
          </a:p>
          <a:p>
            <a:endParaRPr lang="en-IN" i="1" dirty="0" smtClean="0">
              <a:solidFill>
                <a:srgbClr val="123761"/>
              </a:solidFill>
            </a:endParaRPr>
          </a:p>
          <a:p>
            <a:r>
              <a:rPr lang="en-IN" b="1" i="1" dirty="0" smtClean="0">
                <a:solidFill>
                  <a:srgbClr val="123761"/>
                </a:solidFill>
              </a:rPr>
              <a:t>Output:</a:t>
            </a:r>
          </a:p>
          <a:p>
            <a:endParaRPr lang="en-IN" b="1" i="1" dirty="0" smtClean="0">
              <a:solidFill>
                <a:srgbClr val="123761"/>
              </a:solidFill>
            </a:endParaRPr>
          </a:p>
          <a:p>
            <a:r>
              <a:rPr lang="en-IN" i="1" dirty="0" smtClean="0">
                <a:solidFill>
                  <a:srgbClr val="123761"/>
                </a:solidFill>
              </a:rPr>
              <a:t>n:1 and s a </a:t>
            </a:r>
          </a:p>
          <a:p>
            <a:r>
              <a:rPr lang="en-IN" i="1" dirty="0" smtClean="0">
                <a:solidFill>
                  <a:srgbClr val="123761"/>
                </a:solidFill>
              </a:rPr>
              <a:t>n:2 and s b </a:t>
            </a:r>
          </a:p>
          <a:p>
            <a:r>
              <a:rPr lang="en-IN" i="1" dirty="0" smtClean="0">
                <a:solidFill>
                  <a:srgbClr val="123761"/>
                </a:solidFill>
              </a:rPr>
              <a:t>PASSED: f(1, "a") </a:t>
            </a:r>
          </a:p>
          <a:p>
            <a:r>
              <a:rPr lang="en-IN" i="1" dirty="0" smtClean="0">
                <a:solidFill>
                  <a:srgbClr val="123761"/>
                </a:solidFill>
              </a:rPr>
              <a:t>PASSED: f(2, "b")</a:t>
            </a:r>
            <a:endParaRPr lang="en-IN" b="1" i="1" dirty="0" smtClean="0">
              <a:solidFill>
                <a:srgbClr val="123761"/>
              </a:solidFill>
            </a:endParaRPr>
          </a:p>
          <a:p>
            <a:endParaRPr lang="en-IN" dirty="0" smtClean="0"/>
          </a:p>
          <a:p>
            <a:r>
              <a:rPr lang="en-IN" dirty="0" smtClean="0"/>
              <a:t>	</a:t>
            </a:r>
            <a:endParaRPr lang="en-IN" dirty="0"/>
          </a:p>
        </p:txBody>
      </p:sp>
      <p:pic>
        <p:nvPicPr>
          <p:cNvPr id="33793" name="Picture 1"/>
          <p:cNvPicPr>
            <a:picLocks noChangeAspect="1" noChangeArrowheads="1"/>
          </p:cNvPicPr>
          <p:nvPr/>
        </p:nvPicPr>
        <p:blipFill>
          <a:blip r:embed="rId3"/>
          <a:srcRect/>
          <a:stretch>
            <a:fillRect/>
          </a:stretch>
        </p:blipFill>
        <p:spPr bwMode="auto">
          <a:xfrm>
            <a:off x="5018334" y="883429"/>
            <a:ext cx="2857500" cy="1964531"/>
          </a:xfrm>
          <a:prstGeom prst="rect">
            <a:avLst/>
          </a:prstGeom>
          <a:noFill/>
          <a:ln w="9525">
            <a:noFill/>
            <a:miter lim="800000"/>
            <a:headEnd/>
            <a:tailEnd/>
          </a:ln>
          <a:effectLst/>
        </p:spPr>
      </p:pic>
      <p:sp>
        <p:nvSpPr>
          <p:cNvPr id="9" name="Up Arrow 8"/>
          <p:cNvSpPr/>
          <p:nvPr/>
        </p:nvSpPr>
        <p:spPr>
          <a:xfrm>
            <a:off x="6428034" y="2989643"/>
            <a:ext cx="314325" cy="514350"/>
          </a:xfrm>
          <a:prstGeom prst="upArrow">
            <a:avLst/>
          </a:prstGeom>
          <a:solidFill>
            <a:srgbClr val="FFC000"/>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schemeClr val="bg1"/>
              </a:solidFill>
              <a:latin typeface="Arial" panose="020B0604020202020204" pitchFamily="34" charset="0"/>
              <a:cs typeface="Arial" panose="020B0604020202020204" pitchFamily="34" charset="0"/>
            </a:endParaRPr>
          </a:p>
        </p:txBody>
      </p:sp>
      <p:sp>
        <p:nvSpPr>
          <p:cNvPr id="10" name="TextBox 9"/>
          <p:cNvSpPr txBox="1"/>
          <p:nvPr/>
        </p:nvSpPr>
        <p:spPr>
          <a:xfrm>
            <a:off x="5542209" y="3637343"/>
            <a:ext cx="2286000" cy="646331"/>
          </a:xfrm>
          <a:prstGeom prst="rect">
            <a:avLst/>
          </a:prstGeom>
          <a:noFill/>
        </p:spPr>
        <p:txBody>
          <a:bodyPr wrap="square" rtlCol="0">
            <a:spAutoFit/>
          </a:bodyPr>
          <a:lstStyle/>
          <a:p>
            <a:r>
              <a:rPr lang="en-IN" b="1" dirty="0" smtClean="0">
                <a:solidFill>
                  <a:schemeClr val="accent6">
                    <a:lumMod val="50000"/>
                  </a:schemeClr>
                </a:solidFill>
              </a:rPr>
              <a:t>2 dimensional array example</a:t>
            </a:r>
            <a:endParaRPr lang="en-IN" b="1" dirty="0">
              <a:solidFill>
                <a:schemeClr val="accent6">
                  <a:lumMod val="50000"/>
                </a:schemeClr>
              </a:solidFill>
            </a:endParaRPr>
          </a:p>
        </p:txBody>
      </p:sp>
    </p:spTree>
    <p:extLst>
      <p:ext uri="{BB962C8B-B14F-4D97-AF65-F5344CB8AC3E}">
        <p14:creationId xmlns:p14="http://schemas.microsoft.com/office/powerpoint/2010/main" val="193152436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10263" y="101964"/>
            <a:ext cx="8294517" cy="430887"/>
          </a:xfrm>
        </p:spPr>
        <p:txBody>
          <a:bodyPr/>
          <a:lstStyle/>
          <a:p>
            <a:r>
              <a:rPr lang="en-IN" dirty="0" smtClean="0"/>
              <a:t>TestNG parameter and Data-Provider</a:t>
            </a:r>
            <a:endParaRPr lang="en-IN" dirty="0"/>
          </a:p>
        </p:txBody>
      </p:sp>
      <p:sp>
        <p:nvSpPr>
          <p:cNvPr id="7" name="TextBox 6"/>
          <p:cNvSpPr txBox="1"/>
          <p:nvPr/>
        </p:nvSpPr>
        <p:spPr>
          <a:xfrm>
            <a:off x="1457325" y="1457325"/>
            <a:ext cx="6543675"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2628900" y="4152900"/>
            <a:ext cx="4943475" cy="369332"/>
          </a:xfrm>
          <a:prstGeom prst="rect">
            <a:avLst/>
          </a:prstGeom>
        </p:spPr>
        <p:txBody>
          <a:bodyPr wrap="square">
            <a:spAutoFit/>
          </a:bodyPr>
          <a:lstStyle/>
          <a:p>
            <a:r>
              <a:rPr lang="en-IN" i="1" dirty="0" smtClean="0"/>
              <a:t>.</a:t>
            </a:r>
            <a:endParaRPr lang="en-IN" i="1" dirty="0"/>
          </a:p>
        </p:txBody>
      </p:sp>
      <p:sp>
        <p:nvSpPr>
          <p:cNvPr id="12" name="Rectangle 11"/>
          <p:cNvSpPr/>
          <p:nvPr/>
        </p:nvSpPr>
        <p:spPr>
          <a:xfrm>
            <a:off x="1962150" y="1304925"/>
            <a:ext cx="5600700" cy="923330"/>
          </a:xfrm>
          <a:prstGeom prst="rect">
            <a:avLst/>
          </a:prstGeom>
        </p:spPr>
        <p:txBody>
          <a:bodyPr wrap="square">
            <a:spAutoFit/>
          </a:bodyPr>
          <a:lstStyle/>
          <a:p>
            <a:endParaRPr lang="en-IN" i="1" dirty="0" smtClean="0">
              <a:solidFill>
                <a:srgbClr val="123761"/>
              </a:solidFill>
            </a:endParaRPr>
          </a:p>
          <a:p>
            <a:endParaRPr lang="en-IN" i="1" dirty="0" smtClean="0">
              <a:solidFill>
                <a:srgbClr val="123761"/>
              </a:solidFill>
            </a:endParaRPr>
          </a:p>
          <a:p>
            <a:endParaRPr lang="en-IN" i="1" dirty="0" smtClean="0">
              <a:solidFill>
                <a:srgbClr val="123761"/>
              </a:solidFill>
            </a:endParaRPr>
          </a:p>
        </p:txBody>
      </p:sp>
      <p:sp>
        <p:nvSpPr>
          <p:cNvPr id="13" name="Rectangle 12"/>
          <p:cNvSpPr/>
          <p:nvPr/>
        </p:nvSpPr>
        <p:spPr>
          <a:xfrm>
            <a:off x="1010263" y="714597"/>
            <a:ext cx="7605703" cy="5355312"/>
          </a:xfrm>
          <a:prstGeom prst="rect">
            <a:avLst/>
          </a:prstGeom>
        </p:spPr>
        <p:txBody>
          <a:bodyPr wrap="square">
            <a:spAutoFit/>
          </a:bodyPr>
          <a:lstStyle/>
          <a:p>
            <a:r>
              <a:rPr lang="en-IN" dirty="0" smtClean="0">
                <a:solidFill>
                  <a:schemeClr val="tx2"/>
                </a:solidFill>
              </a:rPr>
              <a:t>import </a:t>
            </a:r>
            <a:r>
              <a:rPr lang="en-IN" dirty="0" err="1" smtClean="0">
                <a:solidFill>
                  <a:schemeClr val="tx2"/>
                </a:solidFill>
              </a:rPr>
              <a:t>org.testng.annotations.DataProvider</a:t>
            </a:r>
            <a:r>
              <a:rPr lang="en-IN" dirty="0" smtClean="0">
                <a:solidFill>
                  <a:schemeClr val="tx2"/>
                </a:solidFill>
              </a:rPr>
              <a:t>;</a:t>
            </a:r>
          </a:p>
          <a:p>
            <a:r>
              <a:rPr lang="en-IN" dirty="0" smtClean="0">
                <a:solidFill>
                  <a:schemeClr val="tx2"/>
                </a:solidFill>
              </a:rPr>
              <a:t>import </a:t>
            </a:r>
            <a:r>
              <a:rPr lang="en-IN" dirty="0" err="1" smtClean="0">
                <a:solidFill>
                  <a:schemeClr val="tx2"/>
                </a:solidFill>
              </a:rPr>
              <a:t>org.testng.annotations.Test</a:t>
            </a:r>
            <a:r>
              <a:rPr lang="en-IN" dirty="0" smtClean="0">
                <a:solidFill>
                  <a:schemeClr val="tx2"/>
                </a:solidFill>
              </a:rPr>
              <a:t>;</a:t>
            </a:r>
          </a:p>
          <a:p>
            <a:r>
              <a:rPr lang="en-IN" dirty="0" smtClean="0">
                <a:solidFill>
                  <a:schemeClr val="tx2"/>
                </a:solidFill>
              </a:rPr>
              <a:t>public class </a:t>
            </a:r>
            <a:r>
              <a:rPr lang="en-IN" dirty="0" err="1" smtClean="0">
                <a:solidFill>
                  <a:schemeClr val="tx2"/>
                </a:solidFill>
              </a:rPr>
              <a:t>DataProviderExample</a:t>
            </a:r>
            <a:endParaRPr lang="en-IN" dirty="0" smtClean="0">
              <a:solidFill>
                <a:schemeClr val="tx2"/>
              </a:solidFill>
            </a:endParaRPr>
          </a:p>
          <a:p>
            <a:r>
              <a:rPr lang="en-IN" dirty="0" smtClean="0">
                <a:solidFill>
                  <a:schemeClr val="tx2"/>
                </a:solidFill>
              </a:rPr>
              <a:t>{</a:t>
            </a:r>
          </a:p>
          <a:p>
            <a:r>
              <a:rPr lang="en-IN" dirty="0" smtClean="0">
                <a:solidFill>
                  <a:schemeClr val="tx2"/>
                </a:solidFill>
              </a:rPr>
              <a:t>	@Test(</a:t>
            </a:r>
            <a:r>
              <a:rPr lang="en-IN" dirty="0" err="1" smtClean="0">
                <a:solidFill>
                  <a:schemeClr val="tx2"/>
                </a:solidFill>
              </a:rPr>
              <a:t>dataProvider</a:t>
            </a:r>
            <a:r>
              <a:rPr lang="en-IN" dirty="0" smtClean="0">
                <a:solidFill>
                  <a:schemeClr val="tx2"/>
                </a:solidFill>
              </a:rPr>
              <a:t>="</a:t>
            </a:r>
            <a:r>
              <a:rPr lang="en-IN" dirty="0" err="1" smtClean="0">
                <a:solidFill>
                  <a:schemeClr val="tx2"/>
                </a:solidFill>
              </a:rPr>
              <a:t>getData</a:t>
            </a:r>
            <a:r>
              <a:rPr lang="en-IN" dirty="0" smtClean="0">
                <a:solidFill>
                  <a:schemeClr val="tx2"/>
                </a:solidFill>
              </a:rPr>
              <a:t>")</a:t>
            </a:r>
          </a:p>
          <a:p>
            <a:r>
              <a:rPr lang="en-IN" dirty="0" smtClean="0">
                <a:solidFill>
                  <a:schemeClr val="tx2"/>
                </a:solidFill>
              </a:rPr>
              <a:t>	public void </a:t>
            </a:r>
            <a:r>
              <a:rPr lang="en-IN" dirty="0" err="1" smtClean="0">
                <a:solidFill>
                  <a:schemeClr val="tx2"/>
                </a:solidFill>
              </a:rPr>
              <a:t>setData</a:t>
            </a:r>
            <a:r>
              <a:rPr lang="en-IN" dirty="0" smtClean="0">
                <a:solidFill>
                  <a:schemeClr val="tx2"/>
                </a:solidFill>
              </a:rPr>
              <a:t>(String username, String password)</a:t>
            </a:r>
          </a:p>
          <a:p>
            <a:r>
              <a:rPr lang="en-IN" dirty="0" smtClean="0">
                <a:solidFill>
                  <a:schemeClr val="tx2"/>
                </a:solidFill>
              </a:rPr>
              <a:t>	{</a:t>
            </a:r>
          </a:p>
          <a:p>
            <a:r>
              <a:rPr lang="en-IN" dirty="0" smtClean="0">
                <a:solidFill>
                  <a:schemeClr val="tx2"/>
                </a:solidFill>
              </a:rPr>
              <a:t>		</a:t>
            </a:r>
            <a:r>
              <a:rPr lang="en-IN" dirty="0" err="1" smtClean="0">
                <a:solidFill>
                  <a:schemeClr val="tx2"/>
                </a:solidFill>
              </a:rPr>
              <a:t>System.out.println</a:t>
            </a:r>
            <a:r>
              <a:rPr lang="en-IN" dirty="0" smtClean="0">
                <a:solidFill>
                  <a:schemeClr val="tx2"/>
                </a:solidFill>
              </a:rPr>
              <a:t>("you have provided username as::"+username);</a:t>
            </a:r>
          </a:p>
          <a:p>
            <a:r>
              <a:rPr lang="en-IN" dirty="0" smtClean="0">
                <a:solidFill>
                  <a:schemeClr val="tx2"/>
                </a:solidFill>
              </a:rPr>
              <a:t>		</a:t>
            </a:r>
            <a:r>
              <a:rPr lang="en-IN" dirty="0" err="1" smtClean="0">
                <a:solidFill>
                  <a:schemeClr val="tx2"/>
                </a:solidFill>
              </a:rPr>
              <a:t>System.out.println</a:t>
            </a:r>
            <a:r>
              <a:rPr lang="en-IN" dirty="0" smtClean="0">
                <a:solidFill>
                  <a:schemeClr val="tx2"/>
                </a:solidFill>
              </a:rPr>
              <a:t>("you have provided password as::"+password);</a:t>
            </a:r>
          </a:p>
          <a:p>
            <a:r>
              <a:rPr lang="en-IN" dirty="0" smtClean="0">
                <a:solidFill>
                  <a:schemeClr val="tx2"/>
                </a:solidFill>
              </a:rPr>
              <a:t>	}</a:t>
            </a:r>
          </a:p>
          <a:p>
            <a:endParaRPr lang="en-IN" dirty="0" smtClean="0">
              <a:solidFill>
                <a:schemeClr val="tx2"/>
              </a:solidFill>
            </a:endParaRPr>
          </a:p>
          <a:p>
            <a:r>
              <a:rPr lang="en-IN" dirty="0" smtClean="0">
                <a:solidFill>
                  <a:schemeClr val="tx2"/>
                </a:solidFill>
              </a:rPr>
              <a:t>	@DataProvider</a:t>
            </a:r>
          </a:p>
          <a:p>
            <a:r>
              <a:rPr lang="en-IN" dirty="0" smtClean="0">
                <a:solidFill>
                  <a:schemeClr val="tx2"/>
                </a:solidFill>
              </a:rPr>
              <a:t>	public Object[][] </a:t>
            </a:r>
            <a:r>
              <a:rPr lang="en-IN" dirty="0" err="1" smtClean="0">
                <a:solidFill>
                  <a:schemeClr val="tx2"/>
                </a:solidFill>
              </a:rPr>
              <a:t>getData</a:t>
            </a:r>
            <a:r>
              <a:rPr lang="en-IN" dirty="0" smtClean="0">
                <a:solidFill>
                  <a:schemeClr val="tx2"/>
                </a:solidFill>
              </a:rPr>
              <a:t>()</a:t>
            </a:r>
          </a:p>
          <a:p>
            <a:r>
              <a:rPr lang="en-IN" dirty="0" smtClean="0">
                <a:solidFill>
                  <a:schemeClr val="tx2"/>
                </a:solidFill>
              </a:rPr>
              <a:t>	{</a:t>
            </a:r>
          </a:p>
          <a:p>
            <a:r>
              <a:rPr lang="en-IN" dirty="0" smtClean="0">
                <a:solidFill>
                  <a:schemeClr val="tx2"/>
                </a:solidFill>
              </a:rPr>
              <a:t>	//Rows - Number of times your test has to be repeated.</a:t>
            </a:r>
          </a:p>
          <a:p>
            <a:r>
              <a:rPr lang="en-IN" dirty="0" smtClean="0">
                <a:solidFill>
                  <a:schemeClr val="tx2"/>
                </a:solidFill>
              </a:rPr>
              <a:t>	//Columns - Number of parameters in test data.</a:t>
            </a:r>
          </a:p>
          <a:p>
            <a:r>
              <a:rPr lang="en-IN" dirty="0" smtClean="0">
                <a:solidFill>
                  <a:schemeClr val="tx2"/>
                </a:solidFill>
              </a:rPr>
              <a:t>	Object[][] data = new Object[3][2];</a:t>
            </a:r>
          </a:p>
          <a:p>
            <a:endParaRPr lang="en-IN" dirty="0" smtClean="0">
              <a:solidFill>
                <a:schemeClr val="tx2"/>
              </a:solidFill>
            </a:endParaRPr>
          </a:p>
          <a:p>
            <a:r>
              <a:rPr lang="en-IN" dirty="0" smtClean="0">
                <a:solidFill>
                  <a:schemeClr val="tx2"/>
                </a:solidFill>
              </a:rPr>
              <a:t>	</a:t>
            </a:r>
            <a:endParaRPr lang="en-IN" dirty="0">
              <a:solidFill>
                <a:schemeClr val="tx2"/>
              </a:solidFill>
            </a:endParaRPr>
          </a:p>
        </p:txBody>
      </p:sp>
    </p:spTree>
    <p:extLst>
      <p:ext uri="{BB962C8B-B14F-4D97-AF65-F5344CB8AC3E}">
        <p14:creationId xmlns:p14="http://schemas.microsoft.com/office/powerpoint/2010/main" val="119331333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80017" y="220691"/>
            <a:ext cx="6014441" cy="430887"/>
          </a:xfrm>
        </p:spPr>
        <p:txBody>
          <a:bodyPr/>
          <a:lstStyle/>
          <a:p>
            <a:r>
              <a:rPr lang="en-IN" dirty="0" smtClean="0"/>
              <a:t>TestNG parameter and Data-Provider</a:t>
            </a:r>
            <a:endParaRPr lang="en-IN" dirty="0"/>
          </a:p>
        </p:txBody>
      </p:sp>
      <p:sp>
        <p:nvSpPr>
          <p:cNvPr id="7" name="TextBox 6"/>
          <p:cNvSpPr txBox="1"/>
          <p:nvPr/>
        </p:nvSpPr>
        <p:spPr>
          <a:xfrm>
            <a:off x="1457325" y="1457325"/>
            <a:ext cx="6543675" cy="923330"/>
          </a:xfrm>
          <a:prstGeom prst="rect">
            <a:avLst/>
          </a:prstGeom>
          <a:noFill/>
        </p:spPr>
        <p:txBody>
          <a:bodyPr wrap="square" rtlCol="0">
            <a:spAutoFit/>
          </a:bodyPr>
          <a:lstStyle/>
          <a:p>
            <a:endParaRPr lang="en-IN" dirty="0" smtClean="0">
              <a:solidFill>
                <a:srgbClr val="00B050"/>
              </a:solidFill>
            </a:endParaRPr>
          </a:p>
          <a:p>
            <a:endParaRPr lang="en-IN" dirty="0" smtClean="0">
              <a:solidFill>
                <a:srgbClr val="00B050"/>
              </a:solidFill>
            </a:endParaRPr>
          </a:p>
          <a:p>
            <a:endParaRPr lang="en-IN" dirty="0"/>
          </a:p>
        </p:txBody>
      </p:sp>
      <p:sp>
        <p:nvSpPr>
          <p:cNvPr id="8" name="Rectangle 7"/>
          <p:cNvSpPr/>
          <p:nvPr/>
        </p:nvSpPr>
        <p:spPr>
          <a:xfrm>
            <a:off x="2628900" y="4152900"/>
            <a:ext cx="4943475" cy="369332"/>
          </a:xfrm>
          <a:prstGeom prst="rect">
            <a:avLst/>
          </a:prstGeom>
        </p:spPr>
        <p:txBody>
          <a:bodyPr wrap="square">
            <a:spAutoFit/>
          </a:bodyPr>
          <a:lstStyle/>
          <a:p>
            <a:r>
              <a:rPr lang="en-IN" i="1" dirty="0" smtClean="0"/>
              <a:t>.</a:t>
            </a:r>
            <a:endParaRPr lang="en-IN" i="1" dirty="0"/>
          </a:p>
        </p:txBody>
      </p:sp>
      <p:sp>
        <p:nvSpPr>
          <p:cNvPr id="12" name="Rectangle 11"/>
          <p:cNvSpPr/>
          <p:nvPr/>
        </p:nvSpPr>
        <p:spPr>
          <a:xfrm>
            <a:off x="1962150" y="1304925"/>
            <a:ext cx="5600700" cy="923330"/>
          </a:xfrm>
          <a:prstGeom prst="rect">
            <a:avLst/>
          </a:prstGeom>
        </p:spPr>
        <p:txBody>
          <a:bodyPr wrap="square">
            <a:spAutoFit/>
          </a:bodyPr>
          <a:lstStyle/>
          <a:p>
            <a:endParaRPr lang="en-IN" i="1" dirty="0" smtClean="0">
              <a:solidFill>
                <a:srgbClr val="123761"/>
              </a:solidFill>
            </a:endParaRPr>
          </a:p>
          <a:p>
            <a:endParaRPr lang="en-IN" i="1" dirty="0" smtClean="0">
              <a:solidFill>
                <a:srgbClr val="123761"/>
              </a:solidFill>
            </a:endParaRPr>
          </a:p>
          <a:p>
            <a:endParaRPr lang="en-IN" i="1" dirty="0" smtClean="0">
              <a:solidFill>
                <a:srgbClr val="123761"/>
              </a:solidFill>
            </a:endParaRPr>
          </a:p>
        </p:txBody>
      </p:sp>
      <p:sp>
        <p:nvSpPr>
          <p:cNvPr id="13" name="Rectangle 12"/>
          <p:cNvSpPr/>
          <p:nvPr/>
        </p:nvSpPr>
        <p:spPr>
          <a:xfrm>
            <a:off x="1180018" y="996275"/>
            <a:ext cx="5514975" cy="4247317"/>
          </a:xfrm>
          <a:prstGeom prst="rect">
            <a:avLst/>
          </a:prstGeom>
        </p:spPr>
        <p:txBody>
          <a:bodyPr wrap="square">
            <a:spAutoFit/>
          </a:bodyPr>
          <a:lstStyle/>
          <a:p>
            <a:r>
              <a:rPr lang="en-IN" dirty="0" smtClean="0">
                <a:solidFill>
                  <a:schemeClr val="tx2"/>
                </a:solidFill>
              </a:rPr>
              <a:t>// 1st row</a:t>
            </a:r>
          </a:p>
          <a:p>
            <a:r>
              <a:rPr lang="en-IN" dirty="0" smtClean="0">
                <a:solidFill>
                  <a:schemeClr val="tx2"/>
                </a:solidFill>
              </a:rPr>
              <a:t>	data[0][0] ="sampleuser1";</a:t>
            </a:r>
          </a:p>
          <a:p>
            <a:r>
              <a:rPr lang="en-IN" dirty="0" smtClean="0">
                <a:solidFill>
                  <a:schemeClr val="tx2"/>
                </a:solidFill>
              </a:rPr>
              <a:t>	data[0][1] = "</a:t>
            </a:r>
            <a:r>
              <a:rPr lang="en-IN" dirty="0" err="1" smtClean="0">
                <a:solidFill>
                  <a:schemeClr val="tx2"/>
                </a:solidFill>
              </a:rPr>
              <a:t>abcdef</a:t>
            </a:r>
            <a:r>
              <a:rPr lang="en-IN" dirty="0" smtClean="0">
                <a:solidFill>
                  <a:schemeClr val="tx2"/>
                </a:solidFill>
              </a:rPr>
              <a:t>";</a:t>
            </a:r>
          </a:p>
          <a:p>
            <a:endParaRPr lang="en-IN" dirty="0" smtClean="0">
              <a:solidFill>
                <a:schemeClr val="tx2"/>
              </a:solidFill>
            </a:endParaRPr>
          </a:p>
          <a:p>
            <a:r>
              <a:rPr lang="en-IN" dirty="0" smtClean="0">
                <a:solidFill>
                  <a:schemeClr val="tx2"/>
                </a:solidFill>
              </a:rPr>
              <a:t>	// 2nd row</a:t>
            </a:r>
          </a:p>
          <a:p>
            <a:r>
              <a:rPr lang="en-IN" dirty="0" smtClean="0">
                <a:solidFill>
                  <a:schemeClr val="tx2"/>
                </a:solidFill>
              </a:rPr>
              <a:t>	data[1][0] ="testuser2";</a:t>
            </a:r>
          </a:p>
          <a:p>
            <a:r>
              <a:rPr lang="en-IN" dirty="0" smtClean="0">
                <a:solidFill>
                  <a:schemeClr val="tx2"/>
                </a:solidFill>
              </a:rPr>
              <a:t>	data[1][1] = "</a:t>
            </a:r>
            <a:r>
              <a:rPr lang="en-IN" dirty="0" err="1" smtClean="0">
                <a:solidFill>
                  <a:schemeClr val="tx2"/>
                </a:solidFill>
              </a:rPr>
              <a:t>zxcvb</a:t>
            </a:r>
            <a:r>
              <a:rPr lang="en-IN" dirty="0" smtClean="0">
                <a:solidFill>
                  <a:schemeClr val="tx2"/>
                </a:solidFill>
              </a:rPr>
              <a:t>";</a:t>
            </a:r>
          </a:p>
          <a:p>
            <a:r>
              <a:rPr lang="en-IN" dirty="0" smtClean="0">
                <a:solidFill>
                  <a:schemeClr val="tx2"/>
                </a:solidFill>
              </a:rPr>
              <a:t>	</a:t>
            </a:r>
          </a:p>
          <a:p>
            <a:r>
              <a:rPr lang="en-IN" dirty="0" smtClean="0">
                <a:solidFill>
                  <a:schemeClr val="tx2"/>
                </a:solidFill>
              </a:rPr>
              <a:t>	// 3rd row</a:t>
            </a:r>
          </a:p>
          <a:p>
            <a:r>
              <a:rPr lang="en-IN" dirty="0" smtClean="0">
                <a:solidFill>
                  <a:schemeClr val="tx2"/>
                </a:solidFill>
              </a:rPr>
              <a:t>	data[2][0] ="guestuser3";</a:t>
            </a:r>
          </a:p>
          <a:p>
            <a:r>
              <a:rPr lang="en-IN" dirty="0" smtClean="0">
                <a:solidFill>
                  <a:schemeClr val="tx2"/>
                </a:solidFill>
              </a:rPr>
              <a:t>	data[2][1] = "pass123";</a:t>
            </a:r>
          </a:p>
          <a:p>
            <a:endParaRPr lang="en-IN" dirty="0" smtClean="0">
              <a:solidFill>
                <a:schemeClr val="tx2"/>
              </a:solidFill>
            </a:endParaRPr>
          </a:p>
          <a:p>
            <a:r>
              <a:rPr lang="en-IN" dirty="0" smtClean="0">
                <a:solidFill>
                  <a:schemeClr val="tx2"/>
                </a:solidFill>
              </a:rPr>
              <a:t>	return data;</a:t>
            </a:r>
          </a:p>
          <a:p>
            <a:r>
              <a:rPr lang="en-IN" dirty="0" smtClean="0">
                <a:solidFill>
                  <a:schemeClr val="tx2"/>
                </a:solidFill>
              </a:rPr>
              <a:t>	}}</a:t>
            </a:r>
          </a:p>
          <a:p>
            <a:r>
              <a:rPr lang="en-IN" dirty="0" smtClean="0">
                <a:solidFill>
                  <a:schemeClr val="tx2"/>
                </a:solidFill>
              </a:rPr>
              <a:t>	</a:t>
            </a:r>
            <a:endParaRPr lang="en-IN" dirty="0">
              <a:solidFill>
                <a:schemeClr val="tx2"/>
              </a:solidFill>
            </a:endParaRPr>
          </a:p>
        </p:txBody>
      </p:sp>
    </p:spTree>
    <p:extLst>
      <p:ext uri="{BB962C8B-B14F-4D97-AF65-F5344CB8AC3E}">
        <p14:creationId xmlns:p14="http://schemas.microsoft.com/office/powerpoint/2010/main" val="52924509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19027" y="254622"/>
            <a:ext cx="8195240" cy="346249"/>
          </a:xfrm>
        </p:spPr>
        <p:txBody>
          <a:bodyPr>
            <a:noAutofit/>
          </a:bodyPr>
          <a:lstStyle/>
          <a:p>
            <a:r>
              <a:rPr lang="en-US" sz="2700" dirty="0"/>
              <a:t>TestNG Exercises</a:t>
            </a:r>
          </a:p>
        </p:txBody>
      </p:sp>
      <p:sp>
        <p:nvSpPr>
          <p:cNvPr id="4" name="TextBox 3"/>
          <p:cNvSpPr txBox="1"/>
          <p:nvPr/>
        </p:nvSpPr>
        <p:spPr>
          <a:xfrm>
            <a:off x="1119026" y="1032849"/>
            <a:ext cx="6203852" cy="1477328"/>
          </a:xfrm>
          <a:prstGeom prst="rect">
            <a:avLst/>
          </a:prstGeom>
          <a:noFill/>
        </p:spPr>
        <p:txBody>
          <a:bodyPr wrap="square" rtlCol="0">
            <a:spAutoFit/>
          </a:bodyPr>
          <a:lstStyle/>
          <a:p>
            <a:pPr marL="257175" indent="-257175" algn="just">
              <a:buAutoNum type="arabicPeriod"/>
            </a:pPr>
            <a:r>
              <a:rPr lang="en-US" dirty="0" smtClean="0">
                <a:solidFill>
                  <a:schemeClr val="tx2"/>
                </a:solidFill>
              </a:rPr>
              <a:t>Parameterize the input values used in test execution using @parameter</a:t>
            </a:r>
          </a:p>
          <a:p>
            <a:pPr marL="257175" indent="-257175" algn="just">
              <a:buFontTx/>
              <a:buAutoNum type="arabicPeriod"/>
            </a:pPr>
            <a:r>
              <a:rPr lang="en-US" dirty="0">
                <a:solidFill>
                  <a:schemeClr val="tx2"/>
                </a:solidFill>
              </a:rPr>
              <a:t>Parameterize the input values used in test execution using </a:t>
            </a:r>
            <a:r>
              <a:rPr lang="en-US" dirty="0" smtClean="0">
                <a:solidFill>
                  <a:schemeClr val="tx2"/>
                </a:solidFill>
              </a:rPr>
              <a:t>@</a:t>
            </a:r>
            <a:r>
              <a:rPr lang="en-US" dirty="0" err="1" smtClean="0">
                <a:solidFill>
                  <a:schemeClr val="tx2"/>
                </a:solidFill>
              </a:rPr>
              <a:t>dataProvider</a:t>
            </a:r>
            <a:endParaRPr lang="en-US" dirty="0" smtClean="0">
              <a:solidFill>
                <a:schemeClr val="tx2"/>
              </a:solidFill>
            </a:endParaRPr>
          </a:p>
          <a:p>
            <a:pPr marL="257175" indent="-257175" algn="just">
              <a:buFontTx/>
              <a:buAutoNum type="arabicPeriod"/>
            </a:pPr>
            <a:r>
              <a:rPr lang="en-US" dirty="0" smtClean="0">
                <a:solidFill>
                  <a:schemeClr val="tx2"/>
                </a:solidFill>
              </a:rPr>
              <a:t>Perform parallel execution using with different parallel types</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20875205">
            <a:off x="1920663" y="2763659"/>
            <a:ext cx="3853601" cy="2642469"/>
          </a:xfrm>
          <a:prstGeom prst="rect">
            <a:avLst/>
          </a:prstGeom>
          <a:effectLst>
            <a:softEdge rad="635000"/>
          </a:effectLst>
        </p:spPr>
      </p:pic>
    </p:spTree>
    <p:extLst>
      <p:ext uri="{BB962C8B-B14F-4D97-AF65-F5344CB8AC3E}">
        <p14:creationId xmlns:p14="http://schemas.microsoft.com/office/powerpoint/2010/main" val="769382653"/>
      </p:ext>
    </p:extLst>
  </p:cSld>
  <p:clrMapOvr>
    <a:masterClrMapping/>
  </p:clrMapOvr>
  <p:transition spd="slow">
    <p:wip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heme/theme1.xml><?xml version="1.0" encoding="utf-8"?>
<a:theme xmlns:a="http://schemas.openxmlformats.org/drawingml/2006/main" name="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veric Template Standard Template 4 3" id="{CA2F871C-3F18-4A68-9E1C-AB0FA30BC97E}" vid="{CF009EA7-B9D6-4356-AAEA-DE901429A4AF}"/>
    </a:ext>
  </a:extLst>
</a:theme>
</file>

<file path=ppt/theme/theme2.xml><?xml version="1.0" encoding="utf-8"?>
<a:theme xmlns:a="http://schemas.openxmlformats.org/drawingml/2006/main" name="1_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veric Template Widescreen" id="{4BE0CD3C-1529-4FD5-9C37-DDE3D6491029}" vid="{F054A736-5A0A-4B1E-A370-DDDA56FCB1D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CB723F2E9B4514D9E4BA1CACA2CFB29" ma:contentTypeVersion="2" ma:contentTypeDescription="Create a new document." ma:contentTypeScope="" ma:versionID="cc1aac42e2c6908d021cf576ce4437b3">
  <xsd:schema xmlns:xsd="http://www.w3.org/2001/XMLSchema" xmlns:xs="http://www.w3.org/2001/XMLSchema" xmlns:p="http://schemas.microsoft.com/office/2006/metadata/properties" xmlns:ns2="87287f1f-33a4-4e37-8705-81f7e9cb3234" targetNamespace="http://schemas.microsoft.com/office/2006/metadata/properties" ma:root="true" ma:fieldsID="59ef37113d68807e3410574f4d35a54f" ns2:_="">
    <xsd:import namespace="87287f1f-33a4-4e37-8705-81f7e9cb3234"/>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87f1f-33a4-4e37-8705-81f7e9cb323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CACE08B-0654-429F-9703-6D1CBE5F5F8C}">
  <ds:schemaRefs>
    <ds:schemaRef ds:uri="http://schemas.microsoft.com/sharepoint/v3/contenttype/forms"/>
  </ds:schemaRefs>
</ds:datastoreItem>
</file>

<file path=customXml/itemProps2.xml><?xml version="1.0" encoding="utf-8"?>
<ds:datastoreItem xmlns:ds="http://schemas.openxmlformats.org/officeDocument/2006/customXml" ds:itemID="{ECB2BE0A-492B-489D-A57A-FB6829C3DF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7287f1f-33a4-4e37-8705-81f7e9cb323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61CF904-F9CD-4C52-B4D9-EB3B1DA4A0FF}">
  <ds:schemaRefs>
    <ds:schemaRef ds:uri="http://schemas.microsoft.com/office/2006/metadata/properties"/>
    <ds:schemaRef ds:uri="http://purl.org/dc/dcmitype/"/>
    <ds:schemaRef ds:uri="87287f1f-33a4-4e37-8705-81f7e9cb3234"/>
    <ds:schemaRef ds:uri="http://www.w3.org/XML/1998/namespace"/>
    <ds:schemaRef ds:uri="http://purl.org/dc/elements/1.1/"/>
    <ds:schemaRef ds:uri="http://purl.org/dc/terms/"/>
    <ds:schemaRef ds:uri="http://schemas.microsoft.com/office/2006/documentManagement/types"/>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Maveric Template Standard Template 4 3.potx</Template>
  <TotalTime>5852</TotalTime>
  <Words>1742</Words>
  <Application>Microsoft Office PowerPoint</Application>
  <PresentationFormat>On-screen Show (4:3)</PresentationFormat>
  <Paragraphs>497</Paragraphs>
  <Slides>28</Slides>
  <Notes>23</Notes>
  <HiddenSlides>0</HiddenSlides>
  <MMClips>0</MMClips>
  <ScaleCrop>false</ScaleCrop>
  <HeadingPairs>
    <vt:vector size="6" baseType="variant">
      <vt:variant>
        <vt:lpstr>Fonts Used</vt:lpstr>
      </vt:variant>
      <vt:variant>
        <vt:i4>9</vt:i4>
      </vt:variant>
      <vt:variant>
        <vt:lpstr>Theme</vt:lpstr>
      </vt:variant>
      <vt:variant>
        <vt:i4>2</vt:i4>
      </vt:variant>
      <vt:variant>
        <vt:lpstr>Slide Titles</vt:lpstr>
      </vt:variant>
      <vt:variant>
        <vt:i4>28</vt:i4>
      </vt:variant>
    </vt:vector>
  </HeadingPairs>
  <TitlesOfParts>
    <vt:vector size="39" baseType="lpstr">
      <vt:lpstr>ＭＳ Ｐゴシック</vt:lpstr>
      <vt:lpstr>ＭＳ Ｐゴシック</vt:lpstr>
      <vt:lpstr>Arial</vt:lpstr>
      <vt:lpstr>Calibri</vt:lpstr>
      <vt:lpstr>Century Gothic</vt:lpstr>
      <vt:lpstr>COUTURE Bold</vt:lpstr>
      <vt:lpstr>Lucida Grande</vt:lpstr>
      <vt:lpstr>Symbol</vt:lpstr>
      <vt:lpstr>Wingdings</vt:lpstr>
      <vt:lpstr>Maveric Template</vt:lpstr>
      <vt:lpstr>1_Maveric Template</vt:lpstr>
      <vt:lpstr>Fresher Learning Program</vt:lpstr>
      <vt:lpstr>TestNG parameter and DataProvider</vt:lpstr>
      <vt:lpstr>TestNG parameter and DataProvider</vt:lpstr>
      <vt:lpstr>TestNG parameter and Data-Provider</vt:lpstr>
      <vt:lpstr>TestNG parameter and Data-Provider</vt:lpstr>
      <vt:lpstr>TestNG parameter and Data-Provider</vt:lpstr>
      <vt:lpstr>TestNG parameter and Data-Provider</vt:lpstr>
      <vt:lpstr>TestNG parameter and Data-Provider</vt:lpstr>
      <vt:lpstr>TestNG Exercises</vt:lpstr>
      <vt:lpstr>Selenium Grid</vt:lpstr>
      <vt:lpstr>Selenium Grid</vt:lpstr>
      <vt:lpstr>Selenium Grid</vt:lpstr>
      <vt:lpstr>Selenium Grid</vt:lpstr>
      <vt:lpstr>Selenium Grid</vt:lpstr>
      <vt:lpstr>Selenium Grid</vt:lpstr>
      <vt:lpstr>Selenium Grid</vt:lpstr>
      <vt:lpstr>Selenium Grid</vt:lpstr>
      <vt:lpstr>Selenium Grid</vt:lpstr>
      <vt:lpstr>Selenium Grid</vt:lpstr>
      <vt:lpstr>Additional Parallel run program </vt:lpstr>
      <vt:lpstr>Additional Parallel run program </vt:lpstr>
      <vt:lpstr>Additional Parallel run program </vt:lpstr>
      <vt:lpstr>Additional Parallel run program </vt:lpstr>
      <vt:lpstr>Thread Local</vt:lpstr>
      <vt:lpstr>PowerPoint Presentation</vt:lpstr>
      <vt:lpstr>Assignment</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herkin Cucumber</dc:title>
  <dc:creator>Vijayakumar Palanisamy</dc:creator>
  <cp:lastModifiedBy>LDuser1</cp:lastModifiedBy>
  <cp:revision>1388</cp:revision>
  <dcterms:created xsi:type="dcterms:W3CDTF">2017-06-16T07:00:12Z</dcterms:created>
  <dcterms:modified xsi:type="dcterms:W3CDTF">2019-06-20T12:54: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CB723F2E9B4514D9E4BA1CACA2CFB29</vt:lpwstr>
  </property>
  <property fmtid="{D5CDD505-2E9C-101B-9397-08002B2CF9AE}" pid="3" name="TemplateUrl">
    <vt:lpwstr/>
  </property>
  <property fmtid="{D5CDD505-2E9C-101B-9397-08002B2CF9AE}" pid="4" name="Order">
    <vt:r8>681700</vt:r8>
  </property>
  <property fmtid="{D5CDD505-2E9C-101B-9397-08002B2CF9AE}" pid="5" name="ComplianceAssetId">
    <vt:lpwstr/>
  </property>
  <property fmtid="{D5CDD505-2E9C-101B-9397-08002B2CF9AE}" pid="6" name="xd_Signature">
    <vt:bool>false</vt:bool>
  </property>
  <property fmtid="{D5CDD505-2E9C-101B-9397-08002B2CF9AE}" pid="7" name="xd_ProgID">
    <vt:lpwstr/>
  </property>
  <property fmtid="{D5CDD505-2E9C-101B-9397-08002B2CF9AE}" pid="8" name="_SourceUrl">
    <vt:lpwstr/>
  </property>
  <property fmtid="{D5CDD505-2E9C-101B-9397-08002B2CF9AE}" pid="9" name="_SharedFileIndex">
    <vt:lpwstr/>
  </property>
</Properties>
</file>